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ink/ink66.xml" ContentType="application/inkml+xml"/>
  <Override PartName="/ppt/ink/ink67.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1"/>
  </p:sldMasterIdLst>
  <p:notesMasterIdLst>
    <p:notesMasterId r:id="rId30"/>
  </p:notesMasterIdLst>
  <p:handoutMasterIdLst>
    <p:handoutMasterId r:id="rId31"/>
  </p:handoutMasterIdLst>
  <p:sldIdLst>
    <p:sldId id="867" r:id="rId2"/>
    <p:sldId id="902" r:id="rId3"/>
    <p:sldId id="874" r:id="rId4"/>
    <p:sldId id="906" r:id="rId5"/>
    <p:sldId id="898" r:id="rId6"/>
    <p:sldId id="882" r:id="rId7"/>
    <p:sldId id="894" r:id="rId8"/>
    <p:sldId id="908" r:id="rId9"/>
    <p:sldId id="909" r:id="rId10"/>
    <p:sldId id="905" r:id="rId11"/>
    <p:sldId id="899" r:id="rId12"/>
    <p:sldId id="897" r:id="rId13"/>
    <p:sldId id="912" r:id="rId14"/>
    <p:sldId id="875" r:id="rId15"/>
    <p:sldId id="910" r:id="rId16"/>
    <p:sldId id="911" r:id="rId17"/>
    <p:sldId id="877" r:id="rId18"/>
    <p:sldId id="892" r:id="rId19"/>
    <p:sldId id="904" r:id="rId20"/>
    <p:sldId id="900" r:id="rId21"/>
    <p:sldId id="888" r:id="rId22"/>
    <p:sldId id="876" r:id="rId23"/>
    <p:sldId id="881" r:id="rId24"/>
    <p:sldId id="896" r:id="rId25"/>
    <p:sldId id="878" r:id="rId26"/>
    <p:sldId id="259" r:id="rId27"/>
    <p:sldId id="260" r:id="rId28"/>
    <p:sldId id="261" r:id="rId29"/>
  </p:sldIdLst>
  <p:sldSz cx="12190413" cy="6858000"/>
  <p:notesSz cx="6858000" cy="9144000"/>
  <p:embeddedFontLst>
    <p:embeddedFont>
      <p:font typeface="Source Sans Pro" panose="020B0503030403020204" pitchFamily="34" charset="0"/>
      <p:regular r:id="rId32"/>
      <p:bold r:id="rId33"/>
      <p:italic r:id="rId34"/>
      <p:boldItalic r:id="rId35"/>
    </p:embeddedFont>
    <p:embeddedFont>
      <p:font typeface="Source Sans Pro Black" panose="020B0803030403020204" pitchFamily="34" charset="0"/>
      <p:bold r:id="rId36"/>
      <p:italic r:id="rId37"/>
      <p:boldItalic r:id="rId38"/>
    </p:embeddedFont>
    <p:embeddedFont>
      <p:font typeface="Source Sans Pro SemiBold" panose="020B0603030403020204" pitchFamily="34" charset="0"/>
      <p:regular r:id="rId39"/>
      <p:bold r:id="rId40"/>
      <p:italic r:id="rId41"/>
      <p:boldItalic r:id="rId4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elix Maucher" initials="FM" lastIdx="1" clrIdx="0">
    <p:extLst>
      <p:ext uri="{19B8F6BF-5375-455C-9EA6-DF929625EA0E}">
        <p15:presenceInfo xmlns:p15="http://schemas.microsoft.com/office/powerpoint/2012/main" userId="Felix Mauch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7F84"/>
    <a:srgbClr val="2FAE7A"/>
    <a:srgbClr val="007749"/>
    <a:srgbClr val="002456"/>
    <a:srgbClr val="E1E1E1"/>
    <a:srgbClr val="FDFDFD"/>
    <a:srgbClr val="FFFFFF"/>
    <a:srgbClr val="595959"/>
    <a:srgbClr val="7F7F7F"/>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0D4B63-7EB8-F155-8284-6460DA32B8EF}" v="10" dt="2025-01-15T12:34:37.4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8.fntdata"/><Relationship Id="rId21" Type="http://schemas.openxmlformats.org/officeDocument/2006/relationships/slide" Target="slides/slide20.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5.fntdata"/><Relationship Id="rId49"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font" Target="fonts/font10.fntdata"/><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ppys" userId="S::uppys@student.kit.edu::9cacfd68-f270-418a-9584-69c214d1619d" providerId="AD" clId="Web-{5A0D4B63-7EB8-F155-8284-6460DA32B8EF}"/>
    <pc:docChg chg="modSld">
      <pc:chgData name="uppys" userId="S::uppys@student.kit.edu::9cacfd68-f270-418a-9584-69c214d1619d" providerId="AD" clId="Web-{5A0D4B63-7EB8-F155-8284-6460DA32B8EF}" dt="2025-01-15T12:34:36.602" v="8" actId="20577"/>
      <pc:docMkLst>
        <pc:docMk/>
      </pc:docMkLst>
      <pc:sldChg chg="modSp">
        <pc:chgData name="uppys" userId="S::uppys@student.kit.edu::9cacfd68-f270-418a-9584-69c214d1619d" providerId="AD" clId="Web-{5A0D4B63-7EB8-F155-8284-6460DA32B8EF}" dt="2025-01-15T12:34:36.602" v="8" actId="20577"/>
        <pc:sldMkLst>
          <pc:docMk/>
          <pc:sldMk cId="4141311573" sldId="874"/>
        </pc:sldMkLst>
        <pc:spChg chg="mod">
          <ac:chgData name="uppys" userId="S::uppys@student.kit.edu::9cacfd68-f270-418a-9584-69c214d1619d" providerId="AD" clId="Web-{5A0D4B63-7EB8-F155-8284-6460DA32B8EF}" dt="2025-01-15T12:34:36.602" v="8" actId="20577"/>
          <ac:spMkLst>
            <pc:docMk/>
            <pc:sldMk cId="4141311573" sldId="874"/>
            <ac:spMk id="8" creationId="{758B5DCA-FFE8-7045-AD60-8CE53B6D519C}"/>
          </ac:spMkLst>
        </pc:spChg>
      </pc:sldChg>
    </pc:docChg>
  </pc:docChgLst>
  <pc:docChgLst>
    <pc:chgData name="uppys" userId="S::uppys@student.kit.edu::9cacfd68-f270-418a-9584-69c214d1619d" providerId="AD" clId="Web-{C4D2D534-572F-FC7C-F5CD-2ABABBF29E66}"/>
    <pc:docChg chg="modSld">
      <pc:chgData name="uppys" userId="S::uppys@student.kit.edu::9cacfd68-f270-418a-9584-69c214d1619d" providerId="AD" clId="Web-{C4D2D534-572F-FC7C-F5CD-2ABABBF29E66}" dt="2024-12-11T12:57:47.239" v="2" actId="14100"/>
      <pc:docMkLst>
        <pc:docMk/>
      </pc:docMkLst>
      <pc:sldChg chg="modSp">
        <pc:chgData name="uppys" userId="S::uppys@student.kit.edu::9cacfd68-f270-418a-9584-69c214d1619d" providerId="AD" clId="Web-{C4D2D534-572F-FC7C-F5CD-2ABABBF29E66}" dt="2024-12-11T12:57:47.239" v="2" actId="14100"/>
        <pc:sldMkLst>
          <pc:docMk/>
          <pc:sldMk cId="646799484" sldId="877"/>
        </pc:sldMkLst>
        <pc:spChg chg="mod">
          <ac:chgData name="uppys" userId="S::uppys@student.kit.edu::9cacfd68-f270-418a-9584-69c214d1619d" providerId="AD" clId="Web-{C4D2D534-572F-FC7C-F5CD-2ABABBF29E66}" dt="2024-12-11T12:57:47.239" v="2" actId="14100"/>
          <ac:spMkLst>
            <pc:docMk/>
            <pc:sldMk cId="646799484" sldId="877"/>
            <ac:spMk id="8" creationId="{8E273C2C-5AA6-7023-16DF-5DA8267F0F92}"/>
          </ac:spMkLst>
        </pc:spChg>
      </pc:sldChg>
    </pc:docChg>
  </pc:docChgLst>
  <pc:docChgLst>
    <pc:chgData name="uermo" userId="45a83561-e1b9-4343-a344-05d35c083fc5" providerId="ADAL" clId="{6C41F733-B975-0A41-9671-1CA5A600FEE8}"/>
    <pc:docChg chg="undo custSel addSld delSld modSld">
      <pc:chgData name="uermo" userId="45a83561-e1b9-4343-a344-05d35c083fc5" providerId="ADAL" clId="{6C41F733-B975-0A41-9671-1CA5A600FEE8}" dt="2024-12-11T13:59:14.420" v="587" actId="20577"/>
      <pc:docMkLst>
        <pc:docMk/>
      </pc:docMkLst>
      <pc:sldChg chg="addSp modSp mod">
        <pc:chgData name="uermo" userId="45a83561-e1b9-4343-a344-05d35c083fc5" providerId="ADAL" clId="{6C41F733-B975-0A41-9671-1CA5A600FEE8}" dt="2024-12-11T13:08:07.533" v="427" actId="14100"/>
        <pc:sldMkLst>
          <pc:docMk/>
          <pc:sldMk cId="2073318357" sldId="875"/>
        </pc:sldMkLst>
        <pc:spChg chg="mod">
          <ac:chgData name="uermo" userId="45a83561-e1b9-4343-a344-05d35c083fc5" providerId="ADAL" clId="{6C41F733-B975-0A41-9671-1CA5A600FEE8}" dt="2024-12-11T13:06:51.488" v="407" actId="20577"/>
          <ac:spMkLst>
            <pc:docMk/>
            <pc:sldMk cId="2073318357" sldId="875"/>
            <ac:spMk id="8" creationId="{24391849-31DD-D23B-B5A0-610A6ABCC805}"/>
          </ac:spMkLst>
        </pc:spChg>
        <pc:picChg chg="add mod">
          <ac:chgData name="uermo" userId="45a83561-e1b9-4343-a344-05d35c083fc5" providerId="ADAL" clId="{6C41F733-B975-0A41-9671-1CA5A600FEE8}" dt="2024-12-11T13:08:07.533" v="427" actId="14100"/>
          <ac:picMkLst>
            <pc:docMk/>
            <pc:sldMk cId="2073318357" sldId="875"/>
            <ac:picMk id="6" creationId="{5810DCF1-BDF9-007A-03D6-A21C66417274}"/>
          </ac:picMkLst>
        </pc:picChg>
      </pc:sldChg>
      <pc:sldChg chg="modSp mod">
        <pc:chgData name="uermo" userId="45a83561-e1b9-4343-a344-05d35c083fc5" providerId="ADAL" clId="{6C41F733-B975-0A41-9671-1CA5A600FEE8}" dt="2024-12-11T13:21:16.732" v="513" actId="20577"/>
        <pc:sldMkLst>
          <pc:docMk/>
          <pc:sldMk cId="646799484" sldId="877"/>
        </pc:sldMkLst>
        <pc:spChg chg="mod">
          <ac:chgData name="uermo" userId="45a83561-e1b9-4343-a344-05d35c083fc5" providerId="ADAL" clId="{6C41F733-B975-0A41-9671-1CA5A600FEE8}" dt="2024-12-11T13:21:16.732" v="513" actId="20577"/>
          <ac:spMkLst>
            <pc:docMk/>
            <pc:sldMk cId="646799484" sldId="877"/>
            <ac:spMk id="8" creationId="{8E273C2C-5AA6-7023-16DF-5DA8267F0F92}"/>
          </ac:spMkLst>
        </pc:spChg>
      </pc:sldChg>
      <pc:sldChg chg="modSp mod">
        <pc:chgData name="uermo" userId="45a83561-e1b9-4343-a344-05d35c083fc5" providerId="ADAL" clId="{6C41F733-B975-0A41-9671-1CA5A600FEE8}" dt="2024-12-11T13:35:32.290" v="569" actId="20577"/>
        <pc:sldMkLst>
          <pc:docMk/>
          <pc:sldMk cId="375992258" sldId="894"/>
        </pc:sldMkLst>
        <pc:spChg chg="mod">
          <ac:chgData name="uermo" userId="45a83561-e1b9-4343-a344-05d35c083fc5" providerId="ADAL" clId="{6C41F733-B975-0A41-9671-1CA5A600FEE8}" dt="2024-12-11T13:35:32.290" v="569" actId="20577"/>
          <ac:spMkLst>
            <pc:docMk/>
            <pc:sldMk cId="375992258" sldId="894"/>
            <ac:spMk id="23" creationId="{610FA7A7-80CE-F076-6CDF-B8ECC668F35F}"/>
          </ac:spMkLst>
        </pc:spChg>
      </pc:sldChg>
      <pc:sldChg chg="addSp modSp mod">
        <pc:chgData name="uermo" userId="45a83561-e1b9-4343-a344-05d35c083fc5" providerId="ADAL" clId="{6C41F733-B975-0A41-9671-1CA5A600FEE8}" dt="2024-12-11T13:05:39.653" v="403" actId="20577"/>
        <pc:sldMkLst>
          <pc:docMk/>
          <pc:sldMk cId="2504044746" sldId="897"/>
        </pc:sldMkLst>
        <pc:spChg chg="add mod">
          <ac:chgData name="uermo" userId="45a83561-e1b9-4343-a344-05d35c083fc5" providerId="ADAL" clId="{6C41F733-B975-0A41-9671-1CA5A600FEE8}" dt="2024-12-11T13:05:39.653" v="403" actId="20577"/>
          <ac:spMkLst>
            <pc:docMk/>
            <pc:sldMk cId="2504044746" sldId="897"/>
            <ac:spMk id="6" creationId="{9C204F05-A085-AB80-7732-45945C41E5B5}"/>
          </ac:spMkLst>
        </pc:spChg>
        <pc:spChg chg="mod">
          <ac:chgData name="uermo" userId="45a83561-e1b9-4343-a344-05d35c083fc5" providerId="ADAL" clId="{6C41F733-B975-0A41-9671-1CA5A600FEE8}" dt="2024-12-11T13:00:59.242" v="135" actId="20577"/>
          <ac:spMkLst>
            <pc:docMk/>
            <pc:sldMk cId="2504044746" sldId="897"/>
            <ac:spMk id="22" creationId="{85CE3205-0732-2629-3252-83FD01E9B1C7}"/>
          </ac:spMkLst>
        </pc:spChg>
      </pc:sldChg>
      <pc:sldChg chg="addSp delSp modSp mod">
        <pc:chgData name="uermo" userId="45a83561-e1b9-4343-a344-05d35c083fc5" providerId="ADAL" clId="{6C41F733-B975-0A41-9671-1CA5A600FEE8}" dt="2024-12-11T13:38:21.440" v="579" actId="113"/>
        <pc:sldMkLst>
          <pc:docMk/>
          <pc:sldMk cId="1137107049" sldId="899"/>
        </pc:sldMkLst>
        <pc:spChg chg="del">
          <ac:chgData name="uermo" userId="45a83561-e1b9-4343-a344-05d35c083fc5" providerId="ADAL" clId="{6C41F733-B975-0A41-9671-1CA5A600FEE8}" dt="2024-12-11T13:29:51.031" v="517" actId="478"/>
          <ac:spMkLst>
            <pc:docMk/>
            <pc:sldMk cId="1137107049" sldId="899"/>
            <ac:spMk id="11" creationId="{7D9CE6C3-0948-A16F-890D-3FA9711CF647}"/>
          </ac:spMkLst>
        </pc:spChg>
        <pc:spChg chg="mod">
          <ac:chgData name="uermo" userId="45a83561-e1b9-4343-a344-05d35c083fc5" providerId="ADAL" clId="{6C41F733-B975-0A41-9671-1CA5A600FEE8}" dt="2024-12-11T13:38:21.440" v="579" actId="113"/>
          <ac:spMkLst>
            <pc:docMk/>
            <pc:sldMk cId="1137107049" sldId="899"/>
            <ac:spMk id="28" creationId="{44B5355A-ECCB-8FB9-5F9C-7428A9A1701E}"/>
          </ac:spMkLst>
        </pc:spChg>
        <pc:picChg chg="add mod">
          <ac:chgData name="uermo" userId="45a83561-e1b9-4343-a344-05d35c083fc5" providerId="ADAL" clId="{6C41F733-B975-0A41-9671-1CA5A600FEE8}" dt="2024-12-11T13:30:37.183" v="526" actId="1076"/>
          <ac:picMkLst>
            <pc:docMk/>
            <pc:sldMk cId="1137107049" sldId="899"/>
            <ac:picMk id="8" creationId="{9061DD15-273F-1350-693F-742A11BB9E4B}"/>
          </ac:picMkLst>
        </pc:picChg>
      </pc:sldChg>
      <pc:sldChg chg="modSp mod modShow">
        <pc:chgData name="uermo" userId="45a83561-e1b9-4343-a344-05d35c083fc5" providerId="ADAL" clId="{6C41F733-B975-0A41-9671-1CA5A600FEE8}" dt="2024-12-11T13:59:05.638" v="583" actId="20577"/>
        <pc:sldMkLst>
          <pc:docMk/>
          <pc:sldMk cId="4134013846" sldId="906"/>
        </pc:sldMkLst>
        <pc:spChg chg="mod">
          <ac:chgData name="uermo" userId="45a83561-e1b9-4343-a344-05d35c083fc5" providerId="ADAL" clId="{6C41F733-B975-0A41-9671-1CA5A600FEE8}" dt="2024-12-11T13:59:05.638" v="583" actId="20577"/>
          <ac:spMkLst>
            <pc:docMk/>
            <pc:sldMk cId="4134013846" sldId="906"/>
            <ac:spMk id="68" creationId="{72804C52-5F90-D742-F02C-836600E9FF02}"/>
          </ac:spMkLst>
        </pc:spChg>
      </pc:sldChg>
      <pc:sldChg chg="addSp delSp modSp mod">
        <pc:chgData name="uermo" userId="45a83561-e1b9-4343-a344-05d35c083fc5" providerId="ADAL" clId="{6C41F733-B975-0A41-9671-1CA5A600FEE8}" dt="2024-12-11T13:19:36.854" v="470" actId="1076"/>
        <pc:sldMkLst>
          <pc:docMk/>
          <pc:sldMk cId="2835498256" sldId="907"/>
        </pc:sldMkLst>
        <pc:spChg chg="mod">
          <ac:chgData name="uermo" userId="45a83561-e1b9-4343-a344-05d35c083fc5" providerId="ADAL" clId="{6C41F733-B975-0A41-9671-1CA5A600FEE8}" dt="2024-12-11T13:19:32.466" v="469"/>
          <ac:spMkLst>
            <pc:docMk/>
            <pc:sldMk cId="2835498256" sldId="907"/>
            <ac:spMk id="8" creationId="{65243876-D882-F41A-3528-9557F151A65E}"/>
          </ac:spMkLst>
        </pc:spChg>
        <pc:spChg chg="mod">
          <ac:chgData name="uermo" userId="45a83561-e1b9-4343-a344-05d35c083fc5" providerId="ADAL" clId="{6C41F733-B975-0A41-9671-1CA5A600FEE8}" dt="2024-12-11T13:19:32.466" v="469"/>
          <ac:spMkLst>
            <pc:docMk/>
            <pc:sldMk cId="2835498256" sldId="907"/>
            <ac:spMk id="9" creationId="{54EB975F-CC72-56F9-5FEC-9F738576C7B3}"/>
          </ac:spMkLst>
        </pc:spChg>
        <pc:spChg chg="mod">
          <ac:chgData name="uermo" userId="45a83561-e1b9-4343-a344-05d35c083fc5" providerId="ADAL" clId="{6C41F733-B975-0A41-9671-1CA5A600FEE8}" dt="2024-12-11T13:19:32.466" v="469"/>
          <ac:spMkLst>
            <pc:docMk/>
            <pc:sldMk cId="2835498256" sldId="907"/>
            <ac:spMk id="10" creationId="{54A8F8FE-B2FD-6BBF-A41E-87C69A202E8F}"/>
          </ac:spMkLst>
        </pc:spChg>
        <pc:spChg chg="mod">
          <ac:chgData name="uermo" userId="45a83561-e1b9-4343-a344-05d35c083fc5" providerId="ADAL" clId="{6C41F733-B975-0A41-9671-1CA5A600FEE8}" dt="2024-12-11T13:19:32.466" v="469"/>
          <ac:spMkLst>
            <pc:docMk/>
            <pc:sldMk cId="2835498256" sldId="907"/>
            <ac:spMk id="11" creationId="{A7969A47-8131-4510-8AF0-6FF033CB1085}"/>
          </ac:spMkLst>
        </pc:spChg>
        <pc:spChg chg="mod">
          <ac:chgData name="uermo" userId="45a83561-e1b9-4343-a344-05d35c083fc5" providerId="ADAL" clId="{6C41F733-B975-0A41-9671-1CA5A600FEE8}" dt="2024-12-11T13:19:32.466" v="469"/>
          <ac:spMkLst>
            <pc:docMk/>
            <pc:sldMk cId="2835498256" sldId="907"/>
            <ac:spMk id="12" creationId="{10F0A8B8-0672-C659-2861-25AD44424525}"/>
          </ac:spMkLst>
        </pc:spChg>
        <pc:spChg chg="mod">
          <ac:chgData name="uermo" userId="45a83561-e1b9-4343-a344-05d35c083fc5" providerId="ADAL" clId="{6C41F733-B975-0A41-9671-1CA5A600FEE8}" dt="2024-12-11T13:19:32.466" v="469"/>
          <ac:spMkLst>
            <pc:docMk/>
            <pc:sldMk cId="2835498256" sldId="907"/>
            <ac:spMk id="13" creationId="{E6682CF6-7365-6448-10AA-FF2BEA19E529}"/>
          </ac:spMkLst>
        </pc:spChg>
        <pc:spChg chg="mod">
          <ac:chgData name="uermo" userId="45a83561-e1b9-4343-a344-05d35c083fc5" providerId="ADAL" clId="{6C41F733-B975-0A41-9671-1CA5A600FEE8}" dt="2024-12-11T13:19:32.466" v="469"/>
          <ac:spMkLst>
            <pc:docMk/>
            <pc:sldMk cId="2835498256" sldId="907"/>
            <ac:spMk id="14" creationId="{76F937EF-CAAA-6721-A2F8-D925A932E6A1}"/>
          </ac:spMkLst>
        </pc:spChg>
        <pc:spChg chg="mod">
          <ac:chgData name="uermo" userId="45a83561-e1b9-4343-a344-05d35c083fc5" providerId="ADAL" clId="{6C41F733-B975-0A41-9671-1CA5A600FEE8}" dt="2024-12-11T13:19:32.466" v="469"/>
          <ac:spMkLst>
            <pc:docMk/>
            <pc:sldMk cId="2835498256" sldId="907"/>
            <ac:spMk id="15" creationId="{751D8D67-CE0F-690D-7A15-166532608C7E}"/>
          </ac:spMkLst>
        </pc:spChg>
        <pc:spChg chg="mod">
          <ac:chgData name="uermo" userId="45a83561-e1b9-4343-a344-05d35c083fc5" providerId="ADAL" clId="{6C41F733-B975-0A41-9671-1CA5A600FEE8}" dt="2024-12-11T13:19:32.466" v="469"/>
          <ac:spMkLst>
            <pc:docMk/>
            <pc:sldMk cId="2835498256" sldId="907"/>
            <ac:spMk id="16" creationId="{DE07A0C4-2F2B-98A6-45EB-EA2578D6650F}"/>
          </ac:spMkLst>
        </pc:spChg>
        <pc:spChg chg="del">
          <ac:chgData name="uermo" userId="45a83561-e1b9-4343-a344-05d35c083fc5" providerId="ADAL" clId="{6C41F733-B975-0A41-9671-1CA5A600FEE8}" dt="2024-12-11T13:19:30.636" v="468" actId="478"/>
          <ac:spMkLst>
            <pc:docMk/>
            <pc:sldMk cId="2835498256" sldId="907"/>
            <ac:spMk id="17" creationId="{FAC151DB-CA7B-989E-9311-5FB464AE8218}"/>
          </ac:spMkLst>
        </pc:spChg>
        <pc:spChg chg="del">
          <ac:chgData name="uermo" userId="45a83561-e1b9-4343-a344-05d35c083fc5" providerId="ADAL" clId="{6C41F733-B975-0A41-9671-1CA5A600FEE8}" dt="2024-12-11T13:19:30.636" v="468" actId="478"/>
          <ac:spMkLst>
            <pc:docMk/>
            <pc:sldMk cId="2835498256" sldId="907"/>
            <ac:spMk id="18" creationId="{4D0C7934-BC1F-BA54-A125-E62EB30CA02A}"/>
          </ac:spMkLst>
        </pc:spChg>
        <pc:spChg chg="del">
          <ac:chgData name="uermo" userId="45a83561-e1b9-4343-a344-05d35c083fc5" providerId="ADAL" clId="{6C41F733-B975-0A41-9671-1CA5A600FEE8}" dt="2024-12-11T13:19:30.636" v="468" actId="478"/>
          <ac:spMkLst>
            <pc:docMk/>
            <pc:sldMk cId="2835498256" sldId="907"/>
            <ac:spMk id="19" creationId="{54C6B777-07BA-5CDD-2EF5-D4160533DB7F}"/>
          </ac:spMkLst>
        </pc:spChg>
        <pc:spChg chg="del">
          <ac:chgData name="uermo" userId="45a83561-e1b9-4343-a344-05d35c083fc5" providerId="ADAL" clId="{6C41F733-B975-0A41-9671-1CA5A600FEE8}" dt="2024-12-11T13:19:30.636" v="468" actId="478"/>
          <ac:spMkLst>
            <pc:docMk/>
            <pc:sldMk cId="2835498256" sldId="907"/>
            <ac:spMk id="20" creationId="{36F27C28-36C8-E7B4-DAD4-6F39D00DC7B8}"/>
          </ac:spMkLst>
        </pc:spChg>
        <pc:spChg chg="del">
          <ac:chgData name="uermo" userId="45a83561-e1b9-4343-a344-05d35c083fc5" providerId="ADAL" clId="{6C41F733-B975-0A41-9671-1CA5A600FEE8}" dt="2024-12-11T13:19:30.636" v="468" actId="478"/>
          <ac:spMkLst>
            <pc:docMk/>
            <pc:sldMk cId="2835498256" sldId="907"/>
            <ac:spMk id="21" creationId="{0AE5E07F-6033-EC21-618B-87BE213B554D}"/>
          </ac:spMkLst>
        </pc:spChg>
        <pc:spChg chg="mod">
          <ac:chgData name="uermo" userId="45a83561-e1b9-4343-a344-05d35c083fc5" providerId="ADAL" clId="{6C41F733-B975-0A41-9671-1CA5A600FEE8}" dt="2024-12-11T13:19:32.466" v="469"/>
          <ac:spMkLst>
            <pc:docMk/>
            <pc:sldMk cId="2835498256" sldId="907"/>
            <ac:spMk id="22" creationId="{E9019887-2353-89D9-E72D-09DEAFC90D4C}"/>
          </ac:spMkLst>
        </pc:spChg>
        <pc:spChg chg="del">
          <ac:chgData name="uermo" userId="45a83561-e1b9-4343-a344-05d35c083fc5" providerId="ADAL" clId="{6C41F733-B975-0A41-9671-1CA5A600FEE8}" dt="2024-12-11T13:19:30.636" v="468" actId="478"/>
          <ac:spMkLst>
            <pc:docMk/>
            <pc:sldMk cId="2835498256" sldId="907"/>
            <ac:spMk id="23" creationId="{32C23394-5053-1A22-CC42-18A3D2BC0C87}"/>
          </ac:spMkLst>
        </pc:spChg>
        <pc:spChg chg="mod">
          <ac:chgData name="uermo" userId="45a83561-e1b9-4343-a344-05d35c083fc5" providerId="ADAL" clId="{6C41F733-B975-0A41-9671-1CA5A600FEE8}" dt="2024-12-11T13:19:32.466" v="469"/>
          <ac:spMkLst>
            <pc:docMk/>
            <pc:sldMk cId="2835498256" sldId="907"/>
            <ac:spMk id="24" creationId="{23821571-3A2C-955C-7948-A954AD5A7BDF}"/>
          </ac:spMkLst>
        </pc:spChg>
        <pc:spChg chg="mod">
          <ac:chgData name="uermo" userId="45a83561-e1b9-4343-a344-05d35c083fc5" providerId="ADAL" clId="{6C41F733-B975-0A41-9671-1CA5A600FEE8}" dt="2024-12-11T13:19:32.466" v="469"/>
          <ac:spMkLst>
            <pc:docMk/>
            <pc:sldMk cId="2835498256" sldId="907"/>
            <ac:spMk id="25" creationId="{A1040562-A592-FCD8-5C7F-3D4E80A10506}"/>
          </ac:spMkLst>
        </pc:spChg>
        <pc:spChg chg="del">
          <ac:chgData name="uermo" userId="45a83561-e1b9-4343-a344-05d35c083fc5" providerId="ADAL" clId="{6C41F733-B975-0A41-9671-1CA5A600FEE8}" dt="2024-12-11T13:19:30.636" v="468" actId="478"/>
          <ac:spMkLst>
            <pc:docMk/>
            <pc:sldMk cId="2835498256" sldId="907"/>
            <ac:spMk id="26" creationId="{61BD5B11-7923-53CF-EB34-037ED42039BF}"/>
          </ac:spMkLst>
        </pc:spChg>
        <pc:spChg chg="del">
          <ac:chgData name="uermo" userId="45a83561-e1b9-4343-a344-05d35c083fc5" providerId="ADAL" clId="{6C41F733-B975-0A41-9671-1CA5A600FEE8}" dt="2024-12-11T13:19:30.636" v="468" actId="478"/>
          <ac:spMkLst>
            <pc:docMk/>
            <pc:sldMk cId="2835498256" sldId="907"/>
            <ac:spMk id="27" creationId="{602EAB7F-8E60-DA09-6B05-57A48B1E60A4}"/>
          </ac:spMkLst>
        </pc:spChg>
        <pc:spChg chg="del">
          <ac:chgData name="uermo" userId="45a83561-e1b9-4343-a344-05d35c083fc5" providerId="ADAL" clId="{6C41F733-B975-0A41-9671-1CA5A600FEE8}" dt="2024-12-11T13:19:30.636" v="468" actId="478"/>
          <ac:spMkLst>
            <pc:docMk/>
            <pc:sldMk cId="2835498256" sldId="907"/>
            <ac:spMk id="28" creationId="{25B9FC5D-BB13-C504-6CE4-808656A74241}"/>
          </ac:spMkLst>
        </pc:spChg>
        <pc:spChg chg="del">
          <ac:chgData name="uermo" userId="45a83561-e1b9-4343-a344-05d35c083fc5" providerId="ADAL" clId="{6C41F733-B975-0A41-9671-1CA5A600FEE8}" dt="2024-12-11T13:19:30.636" v="468" actId="478"/>
          <ac:spMkLst>
            <pc:docMk/>
            <pc:sldMk cId="2835498256" sldId="907"/>
            <ac:spMk id="29" creationId="{913E042F-64AD-AE0F-DCBF-7D7920583D80}"/>
          </ac:spMkLst>
        </pc:spChg>
        <pc:spChg chg="mod">
          <ac:chgData name="uermo" userId="45a83561-e1b9-4343-a344-05d35c083fc5" providerId="ADAL" clId="{6C41F733-B975-0A41-9671-1CA5A600FEE8}" dt="2024-12-11T13:19:32.466" v="469"/>
          <ac:spMkLst>
            <pc:docMk/>
            <pc:sldMk cId="2835498256" sldId="907"/>
            <ac:spMk id="30" creationId="{AF2201C4-93F8-1966-FE4D-B8141C594928}"/>
          </ac:spMkLst>
        </pc:spChg>
        <pc:spChg chg="del">
          <ac:chgData name="uermo" userId="45a83561-e1b9-4343-a344-05d35c083fc5" providerId="ADAL" clId="{6C41F733-B975-0A41-9671-1CA5A600FEE8}" dt="2024-12-11T13:19:30.636" v="468" actId="478"/>
          <ac:spMkLst>
            <pc:docMk/>
            <pc:sldMk cId="2835498256" sldId="907"/>
            <ac:spMk id="31" creationId="{1470C7A3-E60A-4DC4-34D2-A604D9AB6EFD}"/>
          </ac:spMkLst>
        </pc:spChg>
        <pc:spChg chg="mod">
          <ac:chgData name="uermo" userId="45a83561-e1b9-4343-a344-05d35c083fc5" providerId="ADAL" clId="{6C41F733-B975-0A41-9671-1CA5A600FEE8}" dt="2024-12-11T13:19:32.466" v="469"/>
          <ac:spMkLst>
            <pc:docMk/>
            <pc:sldMk cId="2835498256" sldId="907"/>
            <ac:spMk id="32" creationId="{6D8CAED5-5C52-334A-DE3B-3246FBF02B1A}"/>
          </ac:spMkLst>
        </pc:spChg>
        <pc:spChg chg="del">
          <ac:chgData name="uermo" userId="45a83561-e1b9-4343-a344-05d35c083fc5" providerId="ADAL" clId="{6C41F733-B975-0A41-9671-1CA5A600FEE8}" dt="2024-12-11T13:19:30.636" v="468" actId="478"/>
          <ac:spMkLst>
            <pc:docMk/>
            <pc:sldMk cId="2835498256" sldId="907"/>
            <ac:spMk id="33" creationId="{1C5E3BD8-28A5-35C8-9FAB-F5F8BFC8C108}"/>
          </ac:spMkLst>
        </pc:spChg>
        <pc:spChg chg="del">
          <ac:chgData name="uermo" userId="45a83561-e1b9-4343-a344-05d35c083fc5" providerId="ADAL" clId="{6C41F733-B975-0A41-9671-1CA5A600FEE8}" dt="2024-12-11T13:19:30.636" v="468" actId="478"/>
          <ac:spMkLst>
            <pc:docMk/>
            <pc:sldMk cId="2835498256" sldId="907"/>
            <ac:spMk id="34" creationId="{FD12D3C8-A808-34FB-AD2C-CA0FBE1FFBF2}"/>
          </ac:spMkLst>
        </pc:spChg>
        <pc:spChg chg="del">
          <ac:chgData name="uermo" userId="45a83561-e1b9-4343-a344-05d35c083fc5" providerId="ADAL" clId="{6C41F733-B975-0A41-9671-1CA5A600FEE8}" dt="2024-12-11T13:19:30.636" v="468" actId="478"/>
          <ac:spMkLst>
            <pc:docMk/>
            <pc:sldMk cId="2835498256" sldId="907"/>
            <ac:spMk id="35" creationId="{CDD08618-F0F3-4033-25AE-23480F153F9E}"/>
          </ac:spMkLst>
        </pc:spChg>
        <pc:spChg chg="del">
          <ac:chgData name="uermo" userId="45a83561-e1b9-4343-a344-05d35c083fc5" providerId="ADAL" clId="{6C41F733-B975-0A41-9671-1CA5A600FEE8}" dt="2024-12-11T13:19:30.636" v="468" actId="478"/>
          <ac:spMkLst>
            <pc:docMk/>
            <pc:sldMk cId="2835498256" sldId="907"/>
            <ac:spMk id="36" creationId="{7D269CEB-1281-9134-7045-6110DEA3D542}"/>
          </ac:spMkLst>
        </pc:spChg>
        <pc:spChg chg="del">
          <ac:chgData name="uermo" userId="45a83561-e1b9-4343-a344-05d35c083fc5" providerId="ADAL" clId="{6C41F733-B975-0A41-9671-1CA5A600FEE8}" dt="2024-12-11T13:19:30.636" v="468" actId="478"/>
          <ac:spMkLst>
            <pc:docMk/>
            <pc:sldMk cId="2835498256" sldId="907"/>
            <ac:spMk id="37" creationId="{4B2616B1-2518-CA3D-615C-A659538A868D}"/>
          </ac:spMkLst>
        </pc:spChg>
        <pc:spChg chg="mod">
          <ac:chgData name="uermo" userId="45a83561-e1b9-4343-a344-05d35c083fc5" providerId="ADAL" clId="{6C41F733-B975-0A41-9671-1CA5A600FEE8}" dt="2024-12-11T13:19:32.466" v="469"/>
          <ac:spMkLst>
            <pc:docMk/>
            <pc:sldMk cId="2835498256" sldId="907"/>
            <ac:spMk id="38" creationId="{C745C774-96ED-5C33-44D2-F343EE2F61DE}"/>
          </ac:spMkLst>
        </pc:spChg>
        <pc:spChg chg="mod">
          <ac:chgData name="uermo" userId="45a83561-e1b9-4343-a344-05d35c083fc5" providerId="ADAL" clId="{6C41F733-B975-0A41-9671-1CA5A600FEE8}" dt="2024-12-11T13:19:32.466" v="469"/>
          <ac:spMkLst>
            <pc:docMk/>
            <pc:sldMk cId="2835498256" sldId="907"/>
            <ac:spMk id="39" creationId="{D60D7F9F-7746-B19D-49AE-9DC071CA7CCA}"/>
          </ac:spMkLst>
        </pc:spChg>
        <pc:spChg chg="del">
          <ac:chgData name="uermo" userId="45a83561-e1b9-4343-a344-05d35c083fc5" providerId="ADAL" clId="{6C41F733-B975-0A41-9671-1CA5A600FEE8}" dt="2024-12-11T13:19:30.636" v="468" actId="478"/>
          <ac:spMkLst>
            <pc:docMk/>
            <pc:sldMk cId="2835498256" sldId="907"/>
            <ac:spMk id="40" creationId="{E99CF7D3-426F-7F7E-38D2-1F491C8F2D3B}"/>
          </ac:spMkLst>
        </pc:spChg>
        <pc:spChg chg="del">
          <ac:chgData name="uermo" userId="45a83561-e1b9-4343-a344-05d35c083fc5" providerId="ADAL" clId="{6C41F733-B975-0A41-9671-1CA5A600FEE8}" dt="2024-12-11T13:19:30.636" v="468" actId="478"/>
          <ac:spMkLst>
            <pc:docMk/>
            <pc:sldMk cId="2835498256" sldId="907"/>
            <ac:spMk id="41" creationId="{C4E82EC3-D038-FF5D-D7E2-4C979501A9D0}"/>
          </ac:spMkLst>
        </pc:spChg>
        <pc:spChg chg="mod">
          <ac:chgData name="uermo" userId="45a83561-e1b9-4343-a344-05d35c083fc5" providerId="ADAL" clId="{6C41F733-B975-0A41-9671-1CA5A600FEE8}" dt="2024-12-11T13:19:32.466" v="469"/>
          <ac:spMkLst>
            <pc:docMk/>
            <pc:sldMk cId="2835498256" sldId="907"/>
            <ac:spMk id="42" creationId="{A9BC9CE6-690C-1C40-B070-67F00E2C70A1}"/>
          </ac:spMkLst>
        </pc:spChg>
        <pc:spChg chg="mod">
          <ac:chgData name="uermo" userId="45a83561-e1b9-4343-a344-05d35c083fc5" providerId="ADAL" clId="{6C41F733-B975-0A41-9671-1CA5A600FEE8}" dt="2024-12-11T13:19:32.466" v="469"/>
          <ac:spMkLst>
            <pc:docMk/>
            <pc:sldMk cId="2835498256" sldId="907"/>
            <ac:spMk id="43" creationId="{DC3C9E5E-3E70-3B0D-AFAB-3B646EBACCD1}"/>
          </ac:spMkLst>
        </pc:spChg>
        <pc:spChg chg="del">
          <ac:chgData name="uermo" userId="45a83561-e1b9-4343-a344-05d35c083fc5" providerId="ADAL" clId="{6C41F733-B975-0A41-9671-1CA5A600FEE8}" dt="2024-12-11T13:19:30.636" v="468" actId="478"/>
          <ac:spMkLst>
            <pc:docMk/>
            <pc:sldMk cId="2835498256" sldId="907"/>
            <ac:spMk id="44" creationId="{3C2111D1-7F12-57F2-6CC5-BF4F6AEF36BB}"/>
          </ac:spMkLst>
        </pc:spChg>
        <pc:spChg chg="del">
          <ac:chgData name="uermo" userId="45a83561-e1b9-4343-a344-05d35c083fc5" providerId="ADAL" clId="{6C41F733-B975-0A41-9671-1CA5A600FEE8}" dt="2024-12-11T13:19:30.636" v="468" actId="478"/>
          <ac:spMkLst>
            <pc:docMk/>
            <pc:sldMk cId="2835498256" sldId="907"/>
            <ac:spMk id="45" creationId="{404A907A-A7C5-818B-843E-5167B0450080}"/>
          </ac:spMkLst>
        </pc:spChg>
        <pc:spChg chg="del">
          <ac:chgData name="uermo" userId="45a83561-e1b9-4343-a344-05d35c083fc5" providerId="ADAL" clId="{6C41F733-B975-0A41-9671-1CA5A600FEE8}" dt="2024-12-11T13:19:30.636" v="468" actId="478"/>
          <ac:spMkLst>
            <pc:docMk/>
            <pc:sldMk cId="2835498256" sldId="907"/>
            <ac:spMk id="46" creationId="{C38B8D41-8D61-FB6B-6296-7B9E079ECB80}"/>
          </ac:spMkLst>
        </pc:spChg>
        <pc:spChg chg="del">
          <ac:chgData name="uermo" userId="45a83561-e1b9-4343-a344-05d35c083fc5" providerId="ADAL" clId="{6C41F733-B975-0A41-9671-1CA5A600FEE8}" dt="2024-12-11T13:19:30.636" v="468" actId="478"/>
          <ac:spMkLst>
            <pc:docMk/>
            <pc:sldMk cId="2835498256" sldId="907"/>
            <ac:spMk id="47" creationId="{E463132C-FE25-24F4-CB49-4D46C6580D5F}"/>
          </ac:spMkLst>
        </pc:spChg>
        <pc:spChg chg="mod">
          <ac:chgData name="uermo" userId="45a83561-e1b9-4343-a344-05d35c083fc5" providerId="ADAL" clId="{6C41F733-B975-0A41-9671-1CA5A600FEE8}" dt="2024-12-11T13:19:32.466" v="469"/>
          <ac:spMkLst>
            <pc:docMk/>
            <pc:sldMk cId="2835498256" sldId="907"/>
            <ac:spMk id="48" creationId="{14F2608E-D8D6-587B-48A7-A9C6AF6BD3A0}"/>
          </ac:spMkLst>
        </pc:spChg>
        <pc:spChg chg="mod">
          <ac:chgData name="uermo" userId="45a83561-e1b9-4343-a344-05d35c083fc5" providerId="ADAL" clId="{6C41F733-B975-0A41-9671-1CA5A600FEE8}" dt="2024-12-11T13:19:32.466" v="469"/>
          <ac:spMkLst>
            <pc:docMk/>
            <pc:sldMk cId="2835498256" sldId="907"/>
            <ac:spMk id="50" creationId="{7BD71636-2D96-E9D3-25BD-454AF94C1457}"/>
          </ac:spMkLst>
        </pc:spChg>
        <pc:spChg chg="del">
          <ac:chgData name="uermo" userId="45a83561-e1b9-4343-a344-05d35c083fc5" providerId="ADAL" clId="{6C41F733-B975-0A41-9671-1CA5A600FEE8}" dt="2024-12-11T13:19:30.636" v="468" actId="478"/>
          <ac:spMkLst>
            <pc:docMk/>
            <pc:sldMk cId="2835498256" sldId="907"/>
            <ac:spMk id="51" creationId="{0C018FB5-C8E4-9464-F847-AB4441ACC23B}"/>
          </ac:spMkLst>
        </pc:spChg>
        <pc:spChg chg="del">
          <ac:chgData name="uermo" userId="45a83561-e1b9-4343-a344-05d35c083fc5" providerId="ADAL" clId="{6C41F733-B975-0A41-9671-1CA5A600FEE8}" dt="2024-12-11T13:19:30.636" v="468" actId="478"/>
          <ac:spMkLst>
            <pc:docMk/>
            <pc:sldMk cId="2835498256" sldId="907"/>
            <ac:spMk id="52" creationId="{0BAD782B-6258-7671-9350-77387E48D136}"/>
          </ac:spMkLst>
        </pc:spChg>
        <pc:spChg chg="del">
          <ac:chgData name="uermo" userId="45a83561-e1b9-4343-a344-05d35c083fc5" providerId="ADAL" clId="{6C41F733-B975-0A41-9671-1CA5A600FEE8}" dt="2024-12-11T13:19:30.636" v="468" actId="478"/>
          <ac:spMkLst>
            <pc:docMk/>
            <pc:sldMk cId="2835498256" sldId="907"/>
            <ac:spMk id="53" creationId="{6DD38EA2-C0C3-4BDF-84E3-FF683D02386B}"/>
          </ac:spMkLst>
        </pc:spChg>
        <pc:spChg chg="del">
          <ac:chgData name="uermo" userId="45a83561-e1b9-4343-a344-05d35c083fc5" providerId="ADAL" clId="{6C41F733-B975-0A41-9671-1CA5A600FEE8}" dt="2024-12-11T13:19:30.636" v="468" actId="478"/>
          <ac:spMkLst>
            <pc:docMk/>
            <pc:sldMk cId="2835498256" sldId="907"/>
            <ac:spMk id="54" creationId="{256A652B-110D-80CF-8819-3A854F1C70F5}"/>
          </ac:spMkLst>
        </pc:spChg>
        <pc:spChg chg="mod">
          <ac:chgData name="uermo" userId="45a83561-e1b9-4343-a344-05d35c083fc5" providerId="ADAL" clId="{6C41F733-B975-0A41-9671-1CA5A600FEE8}" dt="2024-12-11T13:19:32.466" v="469"/>
          <ac:spMkLst>
            <pc:docMk/>
            <pc:sldMk cId="2835498256" sldId="907"/>
            <ac:spMk id="55" creationId="{6739616A-5387-7385-4608-1C72ADAA1A4B}"/>
          </ac:spMkLst>
        </pc:spChg>
        <pc:spChg chg="del">
          <ac:chgData name="uermo" userId="45a83561-e1b9-4343-a344-05d35c083fc5" providerId="ADAL" clId="{6C41F733-B975-0A41-9671-1CA5A600FEE8}" dt="2024-12-11T13:19:30.636" v="468" actId="478"/>
          <ac:spMkLst>
            <pc:docMk/>
            <pc:sldMk cId="2835498256" sldId="907"/>
            <ac:spMk id="56" creationId="{6C246888-DF76-1D9E-6C12-84793A495C2F}"/>
          </ac:spMkLst>
        </pc:spChg>
        <pc:spChg chg="del">
          <ac:chgData name="uermo" userId="45a83561-e1b9-4343-a344-05d35c083fc5" providerId="ADAL" clId="{6C41F733-B975-0A41-9671-1CA5A600FEE8}" dt="2024-12-11T13:19:30.636" v="468" actId="478"/>
          <ac:spMkLst>
            <pc:docMk/>
            <pc:sldMk cId="2835498256" sldId="907"/>
            <ac:spMk id="57" creationId="{597C7563-2BC7-FDE3-5B2A-306E28FEF077}"/>
          </ac:spMkLst>
        </pc:spChg>
        <pc:spChg chg="del">
          <ac:chgData name="uermo" userId="45a83561-e1b9-4343-a344-05d35c083fc5" providerId="ADAL" clId="{6C41F733-B975-0A41-9671-1CA5A600FEE8}" dt="2024-12-11T13:19:30.636" v="468" actId="478"/>
          <ac:spMkLst>
            <pc:docMk/>
            <pc:sldMk cId="2835498256" sldId="907"/>
            <ac:spMk id="58" creationId="{A00907D0-9CBE-E475-B262-D73E8A5B7846}"/>
          </ac:spMkLst>
        </pc:spChg>
        <pc:spChg chg="mod">
          <ac:chgData name="uermo" userId="45a83561-e1b9-4343-a344-05d35c083fc5" providerId="ADAL" clId="{6C41F733-B975-0A41-9671-1CA5A600FEE8}" dt="2024-12-11T13:19:32.466" v="469"/>
          <ac:spMkLst>
            <pc:docMk/>
            <pc:sldMk cId="2835498256" sldId="907"/>
            <ac:spMk id="59" creationId="{165E0E71-645F-26A5-1AE7-0F6CAC145A06}"/>
          </ac:spMkLst>
        </pc:spChg>
        <pc:spChg chg="mod">
          <ac:chgData name="uermo" userId="45a83561-e1b9-4343-a344-05d35c083fc5" providerId="ADAL" clId="{6C41F733-B975-0A41-9671-1CA5A600FEE8}" dt="2024-12-11T13:19:32.466" v="469"/>
          <ac:spMkLst>
            <pc:docMk/>
            <pc:sldMk cId="2835498256" sldId="907"/>
            <ac:spMk id="63" creationId="{298BB794-7194-833A-BC6D-7B004F47CCF9}"/>
          </ac:spMkLst>
        </pc:spChg>
        <pc:spChg chg="mod">
          <ac:chgData name="uermo" userId="45a83561-e1b9-4343-a344-05d35c083fc5" providerId="ADAL" clId="{6C41F733-B975-0A41-9671-1CA5A600FEE8}" dt="2024-12-11T13:19:32.466" v="469"/>
          <ac:spMkLst>
            <pc:docMk/>
            <pc:sldMk cId="2835498256" sldId="907"/>
            <ac:spMk id="64" creationId="{8E031DD7-324F-360C-6896-4AE0B82FA789}"/>
          </ac:spMkLst>
        </pc:spChg>
        <pc:spChg chg="mod">
          <ac:chgData name="uermo" userId="45a83561-e1b9-4343-a344-05d35c083fc5" providerId="ADAL" clId="{6C41F733-B975-0A41-9671-1CA5A600FEE8}" dt="2024-12-11T13:19:32.466" v="469"/>
          <ac:spMkLst>
            <pc:docMk/>
            <pc:sldMk cId="2835498256" sldId="907"/>
            <ac:spMk id="66" creationId="{6D8EF071-14D7-D3A4-4117-B0CF1F1A4A4E}"/>
          </ac:spMkLst>
        </pc:spChg>
        <pc:spChg chg="mod">
          <ac:chgData name="uermo" userId="45a83561-e1b9-4343-a344-05d35c083fc5" providerId="ADAL" clId="{6C41F733-B975-0A41-9671-1CA5A600FEE8}" dt="2024-12-11T13:19:32.466" v="469"/>
          <ac:spMkLst>
            <pc:docMk/>
            <pc:sldMk cId="2835498256" sldId="907"/>
            <ac:spMk id="67" creationId="{0BC498FF-2CF7-1CDF-ABF4-6BC1B64D8B18}"/>
          </ac:spMkLst>
        </pc:spChg>
        <pc:spChg chg="del">
          <ac:chgData name="uermo" userId="45a83561-e1b9-4343-a344-05d35c083fc5" providerId="ADAL" clId="{6C41F733-B975-0A41-9671-1CA5A600FEE8}" dt="2024-12-11T13:19:30.636" v="468" actId="478"/>
          <ac:spMkLst>
            <pc:docMk/>
            <pc:sldMk cId="2835498256" sldId="907"/>
            <ac:spMk id="68" creationId="{5E639D93-B3B5-4FFE-60F9-06C1F6114FB5}"/>
          </ac:spMkLst>
        </pc:spChg>
        <pc:spChg chg="del">
          <ac:chgData name="uermo" userId="45a83561-e1b9-4343-a344-05d35c083fc5" providerId="ADAL" clId="{6C41F733-B975-0A41-9671-1CA5A600FEE8}" dt="2024-12-11T13:19:30.636" v="468" actId="478"/>
          <ac:spMkLst>
            <pc:docMk/>
            <pc:sldMk cId="2835498256" sldId="907"/>
            <ac:spMk id="69" creationId="{7125B72B-AAA0-8D5A-3196-C4FCEA87F86D}"/>
          </ac:spMkLst>
        </pc:spChg>
        <pc:spChg chg="del">
          <ac:chgData name="uermo" userId="45a83561-e1b9-4343-a344-05d35c083fc5" providerId="ADAL" clId="{6C41F733-B975-0A41-9671-1CA5A600FEE8}" dt="2024-12-11T13:19:30.636" v="468" actId="478"/>
          <ac:spMkLst>
            <pc:docMk/>
            <pc:sldMk cId="2835498256" sldId="907"/>
            <ac:spMk id="70" creationId="{36EB435A-A18D-F625-EA7E-78B1C666BA8C}"/>
          </ac:spMkLst>
        </pc:spChg>
        <pc:spChg chg="mod">
          <ac:chgData name="uermo" userId="45a83561-e1b9-4343-a344-05d35c083fc5" providerId="ADAL" clId="{6C41F733-B975-0A41-9671-1CA5A600FEE8}" dt="2024-12-11T13:19:32.466" v="469"/>
          <ac:spMkLst>
            <pc:docMk/>
            <pc:sldMk cId="2835498256" sldId="907"/>
            <ac:spMk id="71" creationId="{88D75D39-82D3-EDAF-A6FE-0AFBCAD14E12}"/>
          </ac:spMkLst>
        </pc:spChg>
        <pc:spChg chg="mod">
          <ac:chgData name="uermo" userId="45a83561-e1b9-4343-a344-05d35c083fc5" providerId="ADAL" clId="{6C41F733-B975-0A41-9671-1CA5A600FEE8}" dt="2024-12-11T13:19:32.466" v="469"/>
          <ac:spMkLst>
            <pc:docMk/>
            <pc:sldMk cId="2835498256" sldId="907"/>
            <ac:spMk id="72" creationId="{C14D4D51-F436-0917-CF9E-E03D3A0AC984}"/>
          </ac:spMkLst>
        </pc:spChg>
        <pc:spChg chg="mod">
          <ac:chgData name="uermo" userId="45a83561-e1b9-4343-a344-05d35c083fc5" providerId="ADAL" clId="{6C41F733-B975-0A41-9671-1CA5A600FEE8}" dt="2024-12-11T13:19:32.466" v="469"/>
          <ac:spMkLst>
            <pc:docMk/>
            <pc:sldMk cId="2835498256" sldId="907"/>
            <ac:spMk id="73" creationId="{F086EE8A-000F-D277-EEFA-83C22A4351CC}"/>
          </ac:spMkLst>
        </pc:spChg>
        <pc:spChg chg="mod">
          <ac:chgData name="uermo" userId="45a83561-e1b9-4343-a344-05d35c083fc5" providerId="ADAL" clId="{6C41F733-B975-0A41-9671-1CA5A600FEE8}" dt="2024-12-11T13:19:32.466" v="469"/>
          <ac:spMkLst>
            <pc:docMk/>
            <pc:sldMk cId="2835498256" sldId="907"/>
            <ac:spMk id="75" creationId="{A3CB4CFF-5818-1EA3-4123-4A4F13C142BC}"/>
          </ac:spMkLst>
        </pc:spChg>
        <pc:spChg chg="mod">
          <ac:chgData name="uermo" userId="45a83561-e1b9-4343-a344-05d35c083fc5" providerId="ADAL" clId="{6C41F733-B975-0A41-9671-1CA5A600FEE8}" dt="2024-12-11T13:19:32.466" v="469"/>
          <ac:spMkLst>
            <pc:docMk/>
            <pc:sldMk cId="2835498256" sldId="907"/>
            <ac:spMk id="76" creationId="{286D8759-0CF3-26E3-8F47-0D3C94ECCC9F}"/>
          </ac:spMkLst>
        </pc:spChg>
        <pc:spChg chg="mod">
          <ac:chgData name="uermo" userId="45a83561-e1b9-4343-a344-05d35c083fc5" providerId="ADAL" clId="{6C41F733-B975-0A41-9671-1CA5A600FEE8}" dt="2024-12-11T13:19:32.466" v="469"/>
          <ac:spMkLst>
            <pc:docMk/>
            <pc:sldMk cId="2835498256" sldId="907"/>
            <ac:spMk id="77" creationId="{E80FEA13-B648-9E98-4ACA-68CD8001508B}"/>
          </ac:spMkLst>
        </pc:spChg>
        <pc:spChg chg="mod">
          <ac:chgData name="uermo" userId="45a83561-e1b9-4343-a344-05d35c083fc5" providerId="ADAL" clId="{6C41F733-B975-0A41-9671-1CA5A600FEE8}" dt="2024-12-11T13:19:32.466" v="469"/>
          <ac:spMkLst>
            <pc:docMk/>
            <pc:sldMk cId="2835498256" sldId="907"/>
            <ac:spMk id="79" creationId="{2B456A6E-DB8C-BB30-FB20-1483152E1251}"/>
          </ac:spMkLst>
        </pc:spChg>
        <pc:spChg chg="mod">
          <ac:chgData name="uermo" userId="45a83561-e1b9-4343-a344-05d35c083fc5" providerId="ADAL" clId="{6C41F733-B975-0A41-9671-1CA5A600FEE8}" dt="2024-12-11T13:19:32.466" v="469"/>
          <ac:spMkLst>
            <pc:docMk/>
            <pc:sldMk cId="2835498256" sldId="907"/>
            <ac:spMk id="80" creationId="{9FCC1737-6EC4-440F-06A9-CCCE342D6619}"/>
          </ac:spMkLst>
        </pc:spChg>
        <pc:spChg chg="mod">
          <ac:chgData name="uermo" userId="45a83561-e1b9-4343-a344-05d35c083fc5" providerId="ADAL" clId="{6C41F733-B975-0A41-9671-1CA5A600FEE8}" dt="2024-12-11T13:19:32.466" v="469"/>
          <ac:spMkLst>
            <pc:docMk/>
            <pc:sldMk cId="2835498256" sldId="907"/>
            <ac:spMk id="81" creationId="{6FDA0389-F1A3-922D-AD0A-7E7587201E14}"/>
          </ac:spMkLst>
        </pc:spChg>
        <pc:spChg chg="mod">
          <ac:chgData name="uermo" userId="45a83561-e1b9-4343-a344-05d35c083fc5" providerId="ADAL" clId="{6C41F733-B975-0A41-9671-1CA5A600FEE8}" dt="2024-12-11T13:19:32.466" v="469"/>
          <ac:spMkLst>
            <pc:docMk/>
            <pc:sldMk cId="2835498256" sldId="907"/>
            <ac:spMk id="82" creationId="{2C925BAA-01F9-952D-7F8A-900DE1892ED5}"/>
          </ac:spMkLst>
        </pc:spChg>
        <pc:spChg chg="mod">
          <ac:chgData name="uermo" userId="45a83561-e1b9-4343-a344-05d35c083fc5" providerId="ADAL" clId="{6C41F733-B975-0A41-9671-1CA5A600FEE8}" dt="2024-12-11T13:19:32.466" v="469"/>
          <ac:spMkLst>
            <pc:docMk/>
            <pc:sldMk cId="2835498256" sldId="907"/>
            <ac:spMk id="83" creationId="{6A874BEA-B91E-F630-70B1-AF690166A9D0}"/>
          </ac:spMkLst>
        </pc:spChg>
        <pc:spChg chg="mod">
          <ac:chgData name="uermo" userId="45a83561-e1b9-4343-a344-05d35c083fc5" providerId="ADAL" clId="{6C41F733-B975-0A41-9671-1CA5A600FEE8}" dt="2024-12-11T13:19:32.466" v="469"/>
          <ac:spMkLst>
            <pc:docMk/>
            <pc:sldMk cId="2835498256" sldId="907"/>
            <ac:spMk id="84" creationId="{BD112F4B-C78B-4426-8E5C-E0433C0383FB}"/>
          </ac:spMkLst>
        </pc:spChg>
        <pc:spChg chg="mod">
          <ac:chgData name="uermo" userId="45a83561-e1b9-4343-a344-05d35c083fc5" providerId="ADAL" clId="{6C41F733-B975-0A41-9671-1CA5A600FEE8}" dt="2024-12-11T13:19:32.466" v="469"/>
          <ac:spMkLst>
            <pc:docMk/>
            <pc:sldMk cId="2835498256" sldId="907"/>
            <ac:spMk id="85" creationId="{5233124F-5FA9-5963-26A9-C07BDFCB1F3B}"/>
          </ac:spMkLst>
        </pc:spChg>
        <pc:spChg chg="mod">
          <ac:chgData name="uermo" userId="45a83561-e1b9-4343-a344-05d35c083fc5" providerId="ADAL" clId="{6C41F733-B975-0A41-9671-1CA5A600FEE8}" dt="2024-12-11T13:19:32.466" v="469"/>
          <ac:spMkLst>
            <pc:docMk/>
            <pc:sldMk cId="2835498256" sldId="907"/>
            <ac:spMk id="86" creationId="{87048678-39E6-6417-65D3-CE48E8A2450C}"/>
          </ac:spMkLst>
        </pc:spChg>
        <pc:spChg chg="mod">
          <ac:chgData name="uermo" userId="45a83561-e1b9-4343-a344-05d35c083fc5" providerId="ADAL" clId="{6C41F733-B975-0A41-9671-1CA5A600FEE8}" dt="2024-12-11T13:19:32.466" v="469"/>
          <ac:spMkLst>
            <pc:docMk/>
            <pc:sldMk cId="2835498256" sldId="907"/>
            <ac:spMk id="87" creationId="{6CE496D1-2270-8ED4-D794-89256163EAB0}"/>
          </ac:spMkLst>
        </pc:spChg>
        <pc:spChg chg="mod">
          <ac:chgData name="uermo" userId="45a83561-e1b9-4343-a344-05d35c083fc5" providerId="ADAL" clId="{6C41F733-B975-0A41-9671-1CA5A600FEE8}" dt="2024-12-11T13:19:32.466" v="469"/>
          <ac:spMkLst>
            <pc:docMk/>
            <pc:sldMk cId="2835498256" sldId="907"/>
            <ac:spMk id="88" creationId="{B79E998D-D3FA-2AA1-5D11-363487B03C9B}"/>
          </ac:spMkLst>
        </pc:spChg>
        <pc:spChg chg="mod">
          <ac:chgData name="uermo" userId="45a83561-e1b9-4343-a344-05d35c083fc5" providerId="ADAL" clId="{6C41F733-B975-0A41-9671-1CA5A600FEE8}" dt="2024-12-11T13:19:32.466" v="469"/>
          <ac:spMkLst>
            <pc:docMk/>
            <pc:sldMk cId="2835498256" sldId="907"/>
            <ac:spMk id="89" creationId="{B94AC3D8-919B-C52F-A5ED-C8738E57DF9A}"/>
          </ac:spMkLst>
        </pc:spChg>
        <pc:spChg chg="mod">
          <ac:chgData name="uermo" userId="45a83561-e1b9-4343-a344-05d35c083fc5" providerId="ADAL" clId="{6C41F733-B975-0A41-9671-1CA5A600FEE8}" dt="2024-12-11T13:19:32.466" v="469"/>
          <ac:spMkLst>
            <pc:docMk/>
            <pc:sldMk cId="2835498256" sldId="907"/>
            <ac:spMk id="90" creationId="{1D176BC0-0A6E-48B0-0E6E-5A102B558D9E}"/>
          </ac:spMkLst>
        </pc:spChg>
        <pc:spChg chg="mod">
          <ac:chgData name="uermo" userId="45a83561-e1b9-4343-a344-05d35c083fc5" providerId="ADAL" clId="{6C41F733-B975-0A41-9671-1CA5A600FEE8}" dt="2024-12-11T13:19:32.466" v="469"/>
          <ac:spMkLst>
            <pc:docMk/>
            <pc:sldMk cId="2835498256" sldId="907"/>
            <ac:spMk id="91" creationId="{0A431009-E159-BCCB-04BC-10A45D776BF5}"/>
          </ac:spMkLst>
        </pc:spChg>
        <pc:spChg chg="mod">
          <ac:chgData name="uermo" userId="45a83561-e1b9-4343-a344-05d35c083fc5" providerId="ADAL" clId="{6C41F733-B975-0A41-9671-1CA5A600FEE8}" dt="2024-12-11T13:19:32.466" v="469"/>
          <ac:spMkLst>
            <pc:docMk/>
            <pc:sldMk cId="2835498256" sldId="907"/>
            <ac:spMk id="92" creationId="{07168F96-6301-1FAD-BF91-723EAAFCA03D}"/>
          </ac:spMkLst>
        </pc:spChg>
        <pc:spChg chg="del">
          <ac:chgData name="uermo" userId="45a83561-e1b9-4343-a344-05d35c083fc5" providerId="ADAL" clId="{6C41F733-B975-0A41-9671-1CA5A600FEE8}" dt="2024-12-11T13:19:30.636" v="468" actId="478"/>
          <ac:spMkLst>
            <pc:docMk/>
            <pc:sldMk cId="2835498256" sldId="907"/>
            <ac:spMk id="97" creationId="{DD1BDB34-1A40-43FD-DB92-9196F742CF2A}"/>
          </ac:spMkLst>
        </pc:spChg>
        <pc:spChg chg="del">
          <ac:chgData name="uermo" userId="45a83561-e1b9-4343-a344-05d35c083fc5" providerId="ADAL" clId="{6C41F733-B975-0A41-9671-1CA5A600FEE8}" dt="2024-12-11T13:19:30.636" v="468" actId="478"/>
          <ac:spMkLst>
            <pc:docMk/>
            <pc:sldMk cId="2835498256" sldId="907"/>
            <ac:spMk id="98" creationId="{64B8CCD2-93EE-8A86-E88F-417B49F1669F}"/>
          </ac:spMkLst>
        </pc:spChg>
        <pc:spChg chg="del">
          <ac:chgData name="uermo" userId="45a83561-e1b9-4343-a344-05d35c083fc5" providerId="ADAL" clId="{6C41F733-B975-0A41-9671-1CA5A600FEE8}" dt="2024-12-11T13:19:30.636" v="468" actId="478"/>
          <ac:spMkLst>
            <pc:docMk/>
            <pc:sldMk cId="2835498256" sldId="907"/>
            <ac:spMk id="99" creationId="{5458203D-D352-A9D0-8CD3-21D2BEA530F0}"/>
          </ac:spMkLst>
        </pc:spChg>
        <pc:spChg chg="del">
          <ac:chgData name="uermo" userId="45a83561-e1b9-4343-a344-05d35c083fc5" providerId="ADAL" clId="{6C41F733-B975-0A41-9671-1CA5A600FEE8}" dt="2024-12-11T13:19:30.636" v="468" actId="478"/>
          <ac:spMkLst>
            <pc:docMk/>
            <pc:sldMk cId="2835498256" sldId="907"/>
            <ac:spMk id="103" creationId="{D2640CDC-EAC0-4857-A320-382A039B58F6}"/>
          </ac:spMkLst>
        </pc:spChg>
        <pc:spChg chg="del">
          <ac:chgData name="uermo" userId="45a83561-e1b9-4343-a344-05d35c083fc5" providerId="ADAL" clId="{6C41F733-B975-0A41-9671-1CA5A600FEE8}" dt="2024-12-11T13:19:30.636" v="468" actId="478"/>
          <ac:spMkLst>
            <pc:docMk/>
            <pc:sldMk cId="2835498256" sldId="907"/>
            <ac:spMk id="105" creationId="{DCE5C1F6-1138-3C56-C37D-853580E7DF00}"/>
          </ac:spMkLst>
        </pc:spChg>
        <pc:spChg chg="del">
          <ac:chgData name="uermo" userId="45a83561-e1b9-4343-a344-05d35c083fc5" providerId="ADAL" clId="{6C41F733-B975-0A41-9671-1CA5A600FEE8}" dt="2024-12-11T13:19:30.636" v="468" actId="478"/>
          <ac:spMkLst>
            <pc:docMk/>
            <pc:sldMk cId="2835498256" sldId="907"/>
            <ac:spMk id="106" creationId="{11EAD774-A664-EF3E-36DC-B7218712DBDF}"/>
          </ac:spMkLst>
        </pc:spChg>
        <pc:spChg chg="del">
          <ac:chgData name="uermo" userId="45a83561-e1b9-4343-a344-05d35c083fc5" providerId="ADAL" clId="{6C41F733-B975-0A41-9671-1CA5A600FEE8}" dt="2024-12-11T13:19:30.636" v="468" actId="478"/>
          <ac:spMkLst>
            <pc:docMk/>
            <pc:sldMk cId="2835498256" sldId="907"/>
            <ac:spMk id="107" creationId="{6980C8A5-D4A2-1484-DFF4-D18759D7268B}"/>
          </ac:spMkLst>
        </pc:spChg>
        <pc:spChg chg="del">
          <ac:chgData name="uermo" userId="45a83561-e1b9-4343-a344-05d35c083fc5" providerId="ADAL" clId="{6C41F733-B975-0A41-9671-1CA5A600FEE8}" dt="2024-12-11T13:19:30.636" v="468" actId="478"/>
          <ac:spMkLst>
            <pc:docMk/>
            <pc:sldMk cId="2835498256" sldId="907"/>
            <ac:spMk id="111" creationId="{CFC004EC-0F20-6690-7CE6-F866252F0607}"/>
          </ac:spMkLst>
        </pc:spChg>
        <pc:grpChg chg="add mod">
          <ac:chgData name="uermo" userId="45a83561-e1b9-4343-a344-05d35c083fc5" providerId="ADAL" clId="{6C41F733-B975-0A41-9671-1CA5A600FEE8}" dt="2024-12-11T13:19:36.854" v="470" actId="1076"/>
          <ac:grpSpMkLst>
            <pc:docMk/>
            <pc:sldMk cId="2835498256" sldId="907"/>
            <ac:grpSpMk id="7" creationId="{736287F9-48CE-A707-BEDF-DAB67F47FBCE}"/>
          </ac:grpSpMkLst>
        </pc:grpChg>
        <pc:grpChg chg="del">
          <ac:chgData name="uermo" userId="45a83561-e1b9-4343-a344-05d35c083fc5" providerId="ADAL" clId="{6C41F733-B975-0A41-9671-1CA5A600FEE8}" dt="2024-12-11T13:19:30.636" v="468" actId="478"/>
          <ac:grpSpMkLst>
            <pc:docMk/>
            <pc:sldMk cId="2835498256" sldId="907"/>
            <ac:grpSpMk id="60" creationId="{626E8E54-1BAA-F856-28E1-7F4AACEE2578}"/>
          </ac:grpSpMkLst>
        </pc:grpChg>
        <pc:grpChg chg="mod">
          <ac:chgData name="uermo" userId="45a83561-e1b9-4343-a344-05d35c083fc5" providerId="ADAL" clId="{6C41F733-B975-0A41-9671-1CA5A600FEE8}" dt="2024-12-11T13:19:32.466" v="469"/>
          <ac:grpSpMkLst>
            <pc:docMk/>
            <pc:sldMk cId="2835498256" sldId="907"/>
            <ac:grpSpMk id="74" creationId="{C4EE716A-92F3-32A3-7808-08E09C740173}"/>
          </ac:grpSpMkLst>
        </pc:grpChg>
        <pc:grpChg chg="mod">
          <ac:chgData name="uermo" userId="45a83561-e1b9-4343-a344-05d35c083fc5" providerId="ADAL" clId="{6C41F733-B975-0A41-9671-1CA5A600FEE8}" dt="2024-12-11T13:19:32.466" v="469"/>
          <ac:grpSpMkLst>
            <pc:docMk/>
            <pc:sldMk cId="2835498256" sldId="907"/>
            <ac:grpSpMk id="78" creationId="{35B0530B-4998-1100-C477-F7DA7F1A3391}"/>
          </ac:grpSpMkLst>
        </pc:grpChg>
        <pc:grpChg chg="del">
          <ac:chgData name="uermo" userId="45a83561-e1b9-4343-a344-05d35c083fc5" providerId="ADAL" clId="{6C41F733-B975-0A41-9671-1CA5A600FEE8}" dt="2024-12-11T13:19:30.636" v="468" actId="478"/>
          <ac:grpSpMkLst>
            <pc:docMk/>
            <pc:sldMk cId="2835498256" sldId="907"/>
            <ac:grpSpMk id="96" creationId="{CEB5B3B3-F83A-70C6-300F-4DA8C89CAD63}"/>
          </ac:grpSpMkLst>
        </pc:grpChg>
      </pc:sldChg>
      <pc:sldChg chg="modSp add mod modTransition">
        <pc:chgData name="uermo" userId="45a83561-e1b9-4343-a344-05d35c083fc5" providerId="ADAL" clId="{6C41F733-B975-0A41-9671-1CA5A600FEE8}" dt="2024-12-11T13:09:23.915" v="434"/>
        <pc:sldMkLst>
          <pc:docMk/>
          <pc:sldMk cId="2401565993" sldId="908"/>
        </pc:sldMkLst>
        <pc:picChg chg="mod">
          <ac:chgData name="uermo" userId="45a83561-e1b9-4343-a344-05d35c083fc5" providerId="ADAL" clId="{6C41F733-B975-0A41-9671-1CA5A600FEE8}" dt="2024-12-11T13:08:56.599" v="432" actId="14100"/>
          <ac:picMkLst>
            <pc:docMk/>
            <pc:sldMk cId="2401565993" sldId="908"/>
            <ac:picMk id="46" creationId="{91D1F6F4-7A06-612F-E0EF-004F2B4510CE}"/>
          </ac:picMkLst>
        </pc:picChg>
      </pc:sldChg>
      <pc:sldChg chg="add modTransition">
        <pc:chgData name="uermo" userId="45a83561-e1b9-4343-a344-05d35c083fc5" providerId="ADAL" clId="{6C41F733-B975-0A41-9671-1CA5A600FEE8}" dt="2024-12-11T13:09:20.315" v="433"/>
        <pc:sldMkLst>
          <pc:docMk/>
          <pc:sldMk cId="4268687509" sldId="909"/>
        </pc:sldMkLst>
      </pc:sldChg>
      <pc:sldChg chg="modSp add mod modTransition">
        <pc:chgData name="uermo" userId="45a83561-e1b9-4343-a344-05d35c083fc5" providerId="ADAL" clId="{6C41F733-B975-0A41-9671-1CA5A600FEE8}" dt="2024-12-11T13:10:03.143" v="438"/>
        <pc:sldMkLst>
          <pc:docMk/>
          <pc:sldMk cId="1178973264" sldId="910"/>
        </pc:sldMkLst>
        <pc:picChg chg="mod">
          <ac:chgData name="uermo" userId="45a83561-e1b9-4343-a344-05d35c083fc5" providerId="ADAL" clId="{6C41F733-B975-0A41-9671-1CA5A600FEE8}" dt="2024-12-11T13:09:56.442" v="437" actId="14100"/>
          <ac:picMkLst>
            <pc:docMk/>
            <pc:sldMk cId="1178973264" sldId="910"/>
            <ac:picMk id="6" creationId="{4C61D744-883A-28EA-83CD-36FDE651AF38}"/>
          </ac:picMkLst>
        </pc:picChg>
      </pc:sldChg>
      <pc:sldChg chg="add modTransition">
        <pc:chgData name="uermo" userId="45a83561-e1b9-4343-a344-05d35c083fc5" providerId="ADAL" clId="{6C41F733-B975-0A41-9671-1CA5A600FEE8}" dt="2024-12-11T13:10:06.186" v="439"/>
        <pc:sldMkLst>
          <pc:docMk/>
          <pc:sldMk cId="574958265" sldId="911"/>
        </pc:sldMkLst>
      </pc:sldChg>
      <pc:sldChg chg="addSp modSp add mod delAnim modShow">
        <pc:chgData name="uermo" userId="45a83561-e1b9-4343-a344-05d35c083fc5" providerId="ADAL" clId="{6C41F733-B975-0A41-9671-1CA5A600FEE8}" dt="2024-12-11T13:59:14.420" v="587" actId="20577"/>
        <pc:sldMkLst>
          <pc:docMk/>
          <pc:sldMk cId="2428574211" sldId="912"/>
        </pc:sldMkLst>
        <pc:spChg chg="mod">
          <ac:chgData name="uermo" userId="45a83561-e1b9-4343-a344-05d35c083fc5" providerId="ADAL" clId="{6C41F733-B975-0A41-9671-1CA5A600FEE8}" dt="2024-12-11T13:17:09.684" v="456" actId="207"/>
          <ac:spMkLst>
            <pc:docMk/>
            <pc:sldMk cId="2428574211" sldId="912"/>
            <ac:spMk id="17" creationId="{E471F715-E5AC-2FF6-7AC3-3D613ADB405C}"/>
          </ac:spMkLst>
        </pc:spChg>
        <pc:spChg chg="mod">
          <ac:chgData name="uermo" userId="45a83561-e1b9-4343-a344-05d35c083fc5" providerId="ADAL" clId="{6C41F733-B975-0A41-9671-1CA5A600FEE8}" dt="2024-12-11T13:16:07.595" v="450" actId="207"/>
          <ac:spMkLst>
            <pc:docMk/>
            <pc:sldMk cId="2428574211" sldId="912"/>
            <ac:spMk id="20" creationId="{FAC49C49-B25B-D104-9F6A-D8F0154691E9}"/>
          </ac:spMkLst>
        </pc:spChg>
        <pc:spChg chg="mod">
          <ac:chgData name="uermo" userId="45a83561-e1b9-4343-a344-05d35c083fc5" providerId="ADAL" clId="{6C41F733-B975-0A41-9671-1CA5A600FEE8}" dt="2024-12-11T13:17:09.684" v="456" actId="207"/>
          <ac:spMkLst>
            <pc:docMk/>
            <pc:sldMk cId="2428574211" sldId="912"/>
            <ac:spMk id="26" creationId="{C79CBC29-01A0-AB6E-EAB8-87476E011B97}"/>
          </ac:spMkLst>
        </pc:spChg>
        <pc:spChg chg="mod">
          <ac:chgData name="uermo" userId="45a83561-e1b9-4343-a344-05d35c083fc5" providerId="ADAL" clId="{6C41F733-B975-0A41-9671-1CA5A600FEE8}" dt="2024-12-11T13:16:07.595" v="450" actId="207"/>
          <ac:spMkLst>
            <pc:docMk/>
            <pc:sldMk cId="2428574211" sldId="912"/>
            <ac:spMk id="28" creationId="{610DB25C-CC27-0910-F790-7026428B760B}"/>
          </ac:spMkLst>
        </pc:spChg>
        <pc:spChg chg="mod">
          <ac:chgData name="uermo" userId="45a83561-e1b9-4343-a344-05d35c083fc5" providerId="ADAL" clId="{6C41F733-B975-0A41-9671-1CA5A600FEE8}" dt="2024-12-11T13:16:07.595" v="450" actId="207"/>
          <ac:spMkLst>
            <pc:docMk/>
            <pc:sldMk cId="2428574211" sldId="912"/>
            <ac:spMk id="29" creationId="{A9357088-B8A4-17CD-8D69-404022017FC4}"/>
          </ac:spMkLst>
        </pc:spChg>
        <pc:spChg chg="mod">
          <ac:chgData name="uermo" userId="45a83561-e1b9-4343-a344-05d35c083fc5" providerId="ADAL" clId="{6C41F733-B975-0A41-9671-1CA5A600FEE8}" dt="2024-12-11T13:17:09.684" v="456" actId="207"/>
          <ac:spMkLst>
            <pc:docMk/>
            <pc:sldMk cId="2428574211" sldId="912"/>
            <ac:spMk id="33" creationId="{7C4FA2BA-8C31-2C02-768C-3E0B804920EF}"/>
          </ac:spMkLst>
        </pc:spChg>
        <pc:spChg chg="mod">
          <ac:chgData name="uermo" userId="45a83561-e1b9-4343-a344-05d35c083fc5" providerId="ADAL" clId="{6C41F733-B975-0A41-9671-1CA5A600FEE8}" dt="2024-12-11T13:16:07.595" v="450" actId="207"/>
          <ac:spMkLst>
            <pc:docMk/>
            <pc:sldMk cId="2428574211" sldId="912"/>
            <ac:spMk id="35" creationId="{4588591D-1534-2CB0-EE89-73FA2D383F2C}"/>
          </ac:spMkLst>
        </pc:spChg>
        <pc:spChg chg="mod">
          <ac:chgData name="uermo" userId="45a83561-e1b9-4343-a344-05d35c083fc5" providerId="ADAL" clId="{6C41F733-B975-0A41-9671-1CA5A600FEE8}" dt="2024-12-11T13:16:07.595" v="450" actId="207"/>
          <ac:spMkLst>
            <pc:docMk/>
            <pc:sldMk cId="2428574211" sldId="912"/>
            <ac:spMk id="36" creationId="{6FB87F9B-1504-E6D7-0B27-691F6A28C05A}"/>
          </ac:spMkLst>
        </pc:spChg>
        <pc:spChg chg="mod">
          <ac:chgData name="uermo" userId="45a83561-e1b9-4343-a344-05d35c083fc5" providerId="ADAL" clId="{6C41F733-B975-0A41-9671-1CA5A600FEE8}" dt="2024-12-11T13:26:11.284" v="516" actId="1076"/>
          <ac:spMkLst>
            <pc:docMk/>
            <pc:sldMk cId="2428574211" sldId="912"/>
            <ac:spMk id="40" creationId="{341A9286-C26B-C509-5F38-830C6CFF4D2D}"/>
          </ac:spMkLst>
        </pc:spChg>
        <pc:spChg chg="mod">
          <ac:chgData name="uermo" userId="45a83561-e1b9-4343-a344-05d35c083fc5" providerId="ADAL" clId="{6C41F733-B975-0A41-9671-1CA5A600FEE8}" dt="2024-12-11T13:26:11.284" v="516" actId="1076"/>
          <ac:spMkLst>
            <pc:docMk/>
            <pc:sldMk cId="2428574211" sldId="912"/>
            <ac:spMk id="41" creationId="{5AD6E4DB-5E2D-F251-EAF3-01566C17DDA8}"/>
          </ac:spMkLst>
        </pc:spChg>
        <pc:spChg chg="mod">
          <ac:chgData name="uermo" userId="45a83561-e1b9-4343-a344-05d35c083fc5" providerId="ADAL" clId="{6C41F733-B975-0A41-9671-1CA5A600FEE8}" dt="2024-12-11T13:26:11.284" v="516" actId="1076"/>
          <ac:spMkLst>
            <pc:docMk/>
            <pc:sldMk cId="2428574211" sldId="912"/>
            <ac:spMk id="44" creationId="{BE520703-1F3E-B744-9803-CFCD55DEB2F2}"/>
          </ac:spMkLst>
        </pc:spChg>
        <pc:spChg chg="mod">
          <ac:chgData name="uermo" userId="45a83561-e1b9-4343-a344-05d35c083fc5" providerId="ADAL" clId="{6C41F733-B975-0A41-9671-1CA5A600FEE8}" dt="2024-12-11T13:26:11.284" v="516" actId="1076"/>
          <ac:spMkLst>
            <pc:docMk/>
            <pc:sldMk cId="2428574211" sldId="912"/>
            <ac:spMk id="45" creationId="{6A01BA90-4DB3-AEBD-B264-05F9972A2E5A}"/>
          </ac:spMkLst>
        </pc:spChg>
        <pc:spChg chg="mod">
          <ac:chgData name="uermo" userId="45a83561-e1b9-4343-a344-05d35c083fc5" providerId="ADAL" clId="{6C41F733-B975-0A41-9671-1CA5A600FEE8}" dt="2024-12-11T13:26:11.284" v="516" actId="1076"/>
          <ac:spMkLst>
            <pc:docMk/>
            <pc:sldMk cId="2428574211" sldId="912"/>
            <ac:spMk id="46" creationId="{701374A6-E346-DDC4-E856-D2A280A8CCBE}"/>
          </ac:spMkLst>
        </pc:spChg>
        <pc:spChg chg="mod">
          <ac:chgData name="uermo" userId="45a83561-e1b9-4343-a344-05d35c083fc5" providerId="ADAL" clId="{6C41F733-B975-0A41-9671-1CA5A600FEE8}" dt="2024-12-11T13:26:11.284" v="516" actId="1076"/>
          <ac:spMkLst>
            <pc:docMk/>
            <pc:sldMk cId="2428574211" sldId="912"/>
            <ac:spMk id="47" creationId="{7ADD85C0-8E65-1CF7-D498-01520EF3BBC3}"/>
          </ac:spMkLst>
        </pc:spChg>
        <pc:spChg chg="mod">
          <ac:chgData name="uermo" userId="45a83561-e1b9-4343-a344-05d35c083fc5" providerId="ADAL" clId="{6C41F733-B975-0A41-9671-1CA5A600FEE8}" dt="2024-12-11T13:17:09.684" v="456" actId="207"/>
          <ac:spMkLst>
            <pc:docMk/>
            <pc:sldMk cId="2428574211" sldId="912"/>
            <ac:spMk id="51" creationId="{ED9D0C70-DBBE-AB7A-92DC-313D7C19507D}"/>
          </ac:spMkLst>
        </pc:spChg>
        <pc:spChg chg="mod">
          <ac:chgData name="uermo" userId="45a83561-e1b9-4343-a344-05d35c083fc5" providerId="ADAL" clId="{6C41F733-B975-0A41-9671-1CA5A600FEE8}" dt="2024-12-11T13:16:07.595" v="450" actId="207"/>
          <ac:spMkLst>
            <pc:docMk/>
            <pc:sldMk cId="2428574211" sldId="912"/>
            <ac:spMk id="53" creationId="{8848603D-7B90-A6F5-2267-27FEB4D3AE21}"/>
          </ac:spMkLst>
        </pc:spChg>
        <pc:spChg chg="mod">
          <ac:chgData name="uermo" userId="45a83561-e1b9-4343-a344-05d35c083fc5" providerId="ADAL" clId="{6C41F733-B975-0A41-9671-1CA5A600FEE8}" dt="2024-12-11T13:16:07.595" v="450" actId="207"/>
          <ac:spMkLst>
            <pc:docMk/>
            <pc:sldMk cId="2428574211" sldId="912"/>
            <ac:spMk id="54" creationId="{AA5B1DF3-3E9B-2CCD-B350-9CE11F16810A}"/>
          </ac:spMkLst>
        </pc:spChg>
        <pc:spChg chg="mod">
          <ac:chgData name="uermo" userId="45a83561-e1b9-4343-a344-05d35c083fc5" providerId="ADAL" clId="{6C41F733-B975-0A41-9671-1CA5A600FEE8}" dt="2024-12-11T13:16:07.595" v="450" actId="207"/>
          <ac:spMkLst>
            <pc:docMk/>
            <pc:sldMk cId="2428574211" sldId="912"/>
            <ac:spMk id="57" creationId="{73A53CF8-F050-FE6E-9140-16D0FA88DC47}"/>
          </ac:spMkLst>
        </pc:spChg>
        <pc:spChg chg="mod">
          <ac:chgData name="uermo" userId="45a83561-e1b9-4343-a344-05d35c083fc5" providerId="ADAL" clId="{6C41F733-B975-0A41-9671-1CA5A600FEE8}" dt="2024-12-11T13:16:07.595" v="450" actId="207"/>
          <ac:spMkLst>
            <pc:docMk/>
            <pc:sldMk cId="2428574211" sldId="912"/>
            <ac:spMk id="58" creationId="{D3957610-4B8D-948F-960C-6BB64638220D}"/>
          </ac:spMkLst>
        </pc:spChg>
        <pc:spChg chg="mod">
          <ac:chgData name="uermo" userId="45a83561-e1b9-4343-a344-05d35c083fc5" providerId="ADAL" clId="{6C41F733-B975-0A41-9671-1CA5A600FEE8}" dt="2024-12-11T13:17:09.684" v="456" actId="207"/>
          <ac:spMkLst>
            <pc:docMk/>
            <pc:sldMk cId="2428574211" sldId="912"/>
            <ac:spMk id="61" creationId="{E583DF01-E9C6-F5D8-BF7D-0ED2B998DEED}"/>
          </ac:spMkLst>
        </pc:spChg>
        <pc:spChg chg="mod">
          <ac:chgData name="uermo" userId="45a83561-e1b9-4343-a344-05d35c083fc5" providerId="ADAL" clId="{6C41F733-B975-0A41-9671-1CA5A600FEE8}" dt="2024-12-11T13:17:26.901" v="457" actId="2085"/>
          <ac:spMkLst>
            <pc:docMk/>
            <pc:sldMk cId="2428574211" sldId="912"/>
            <ac:spMk id="62" creationId="{6FE4AA76-0079-6887-655D-2CC715A74353}"/>
          </ac:spMkLst>
        </pc:spChg>
        <pc:spChg chg="mod">
          <ac:chgData name="uermo" userId="45a83561-e1b9-4343-a344-05d35c083fc5" providerId="ADAL" clId="{6C41F733-B975-0A41-9671-1CA5A600FEE8}" dt="2024-12-11T13:17:46.099" v="460" actId="207"/>
          <ac:spMkLst>
            <pc:docMk/>
            <pc:sldMk cId="2428574211" sldId="912"/>
            <ac:spMk id="65" creationId="{D486AB84-8617-1E04-09F3-CC678676E73A}"/>
          </ac:spMkLst>
        </pc:spChg>
        <pc:spChg chg="mod">
          <ac:chgData name="uermo" userId="45a83561-e1b9-4343-a344-05d35c083fc5" providerId="ADAL" clId="{6C41F733-B975-0A41-9671-1CA5A600FEE8}" dt="2024-12-11T13:59:14.420" v="587" actId="20577"/>
          <ac:spMkLst>
            <pc:docMk/>
            <pc:sldMk cId="2428574211" sldId="912"/>
            <ac:spMk id="68" creationId="{D6757BCB-97F7-2EE6-CF75-7311FBF5818F}"/>
          </ac:spMkLst>
        </pc:spChg>
        <pc:spChg chg="mod">
          <ac:chgData name="uermo" userId="45a83561-e1b9-4343-a344-05d35c083fc5" providerId="ADAL" clId="{6C41F733-B975-0A41-9671-1CA5A600FEE8}" dt="2024-12-11T13:16:07.595" v="450" actId="207"/>
          <ac:spMkLst>
            <pc:docMk/>
            <pc:sldMk cId="2428574211" sldId="912"/>
            <ac:spMk id="69" creationId="{01708FEC-E6AF-618A-47E1-C0B969B10AAA}"/>
          </ac:spMkLst>
        </pc:spChg>
        <pc:spChg chg="mod">
          <ac:chgData name="uermo" userId="45a83561-e1b9-4343-a344-05d35c083fc5" providerId="ADAL" clId="{6C41F733-B975-0A41-9671-1CA5A600FEE8}" dt="2024-12-11T13:16:07.595" v="450" actId="207"/>
          <ac:spMkLst>
            <pc:docMk/>
            <pc:sldMk cId="2428574211" sldId="912"/>
            <ac:spMk id="70" creationId="{64315FEF-5C7C-38CA-3AA8-ED339A44F0EC}"/>
          </ac:spMkLst>
        </pc:spChg>
        <pc:spChg chg="mod">
          <ac:chgData name="uermo" userId="45a83561-e1b9-4343-a344-05d35c083fc5" providerId="ADAL" clId="{6C41F733-B975-0A41-9671-1CA5A600FEE8}" dt="2024-12-11T13:16:07.595" v="450" actId="207"/>
          <ac:spMkLst>
            <pc:docMk/>
            <pc:sldMk cId="2428574211" sldId="912"/>
            <ac:spMk id="97" creationId="{BBCAAB1C-4377-CBBF-3A73-EEB85414AD35}"/>
          </ac:spMkLst>
        </pc:spChg>
        <pc:spChg chg="mod">
          <ac:chgData name="uermo" userId="45a83561-e1b9-4343-a344-05d35c083fc5" providerId="ADAL" clId="{6C41F733-B975-0A41-9671-1CA5A600FEE8}" dt="2024-12-11T13:16:07.595" v="450" actId="207"/>
          <ac:spMkLst>
            <pc:docMk/>
            <pc:sldMk cId="2428574211" sldId="912"/>
            <ac:spMk id="98" creationId="{287C62B6-9F2F-0EEF-DE25-284151EB7DB4}"/>
          </ac:spMkLst>
        </pc:spChg>
        <pc:spChg chg="mod">
          <ac:chgData name="uermo" userId="45a83561-e1b9-4343-a344-05d35c083fc5" providerId="ADAL" clId="{6C41F733-B975-0A41-9671-1CA5A600FEE8}" dt="2024-12-11T13:16:07.595" v="450" actId="207"/>
          <ac:spMkLst>
            <pc:docMk/>
            <pc:sldMk cId="2428574211" sldId="912"/>
            <ac:spMk id="99" creationId="{EA99E0C7-1012-1068-EA30-4D2AE072086D}"/>
          </ac:spMkLst>
        </pc:spChg>
        <pc:spChg chg="mod">
          <ac:chgData name="uermo" userId="45a83561-e1b9-4343-a344-05d35c083fc5" providerId="ADAL" clId="{6C41F733-B975-0A41-9671-1CA5A600FEE8}" dt="2024-12-11T13:17:09.684" v="456" actId="207"/>
          <ac:spMkLst>
            <pc:docMk/>
            <pc:sldMk cId="2428574211" sldId="912"/>
            <ac:spMk id="100" creationId="{40E28836-B5AE-A5A8-BAA5-52E502A5EE69}"/>
          </ac:spMkLst>
        </pc:spChg>
        <pc:spChg chg="mod">
          <ac:chgData name="uermo" userId="45a83561-e1b9-4343-a344-05d35c083fc5" providerId="ADAL" clId="{6C41F733-B975-0A41-9671-1CA5A600FEE8}" dt="2024-12-11T13:17:33.965" v="458" actId="2085"/>
          <ac:spMkLst>
            <pc:docMk/>
            <pc:sldMk cId="2428574211" sldId="912"/>
            <ac:spMk id="101" creationId="{468D373B-F9C9-0111-5C2B-180B8BE77046}"/>
          </ac:spMkLst>
        </pc:spChg>
        <pc:spChg chg="mod">
          <ac:chgData name="uermo" userId="45a83561-e1b9-4343-a344-05d35c083fc5" providerId="ADAL" clId="{6C41F733-B975-0A41-9671-1CA5A600FEE8}" dt="2024-12-11T13:17:51.242" v="462" actId="207"/>
          <ac:spMkLst>
            <pc:docMk/>
            <pc:sldMk cId="2428574211" sldId="912"/>
            <ac:spMk id="102" creationId="{D44B6AEA-0DBF-4541-A42B-53DF912DA922}"/>
          </ac:spMkLst>
        </pc:spChg>
        <pc:spChg chg="mod">
          <ac:chgData name="uermo" userId="45a83561-e1b9-4343-a344-05d35c083fc5" providerId="ADAL" clId="{6C41F733-B975-0A41-9671-1CA5A600FEE8}" dt="2024-12-11T13:18:19.916" v="464" actId="207"/>
          <ac:spMkLst>
            <pc:docMk/>
            <pc:sldMk cId="2428574211" sldId="912"/>
            <ac:spMk id="103" creationId="{D4CF47BE-4E93-B82A-072B-B81349A22814}"/>
          </ac:spMkLst>
        </pc:spChg>
        <pc:spChg chg="mod">
          <ac:chgData name="uermo" userId="45a83561-e1b9-4343-a344-05d35c083fc5" providerId="ADAL" clId="{6C41F733-B975-0A41-9671-1CA5A600FEE8}" dt="2024-12-11T13:18:19.916" v="464" actId="207"/>
          <ac:spMkLst>
            <pc:docMk/>
            <pc:sldMk cId="2428574211" sldId="912"/>
            <ac:spMk id="105" creationId="{EB1289B3-1C56-65F1-4CE2-D738AF9A8920}"/>
          </ac:spMkLst>
        </pc:spChg>
        <pc:spChg chg="mod">
          <ac:chgData name="uermo" userId="45a83561-e1b9-4343-a344-05d35c083fc5" providerId="ADAL" clId="{6C41F733-B975-0A41-9671-1CA5A600FEE8}" dt="2024-12-11T13:18:19.916" v="464" actId="207"/>
          <ac:spMkLst>
            <pc:docMk/>
            <pc:sldMk cId="2428574211" sldId="912"/>
            <ac:spMk id="106" creationId="{D531F03B-94D3-8511-12A4-4A1CC7E7947B}"/>
          </ac:spMkLst>
        </pc:spChg>
        <pc:spChg chg="mod">
          <ac:chgData name="uermo" userId="45a83561-e1b9-4343-a344-05d35c083fc5" providerId="ADAL" clId="{6C41F733-B975-0A41-9671-1CA5A600FEE8}" dt="2024-12-11T13:18:50.881" v="465" actId="14100"/>
          <ac:spMkLst>
            <pc:docMk/>
            <pc:sldMk cId="2428574211" sldId="912"/>
            <ac:spMk id="107" creationId="{1D50211B-D01D-8826-EC22-C1FB684142D2}"/>
          </ac:spMkLst>
        </pc:spChg>
        <pc:spChg chg="mod">
          <ac:chgData name="uermo" userId="45a83561-e1b9-4343-a344-05d35c083fc5" providerId="ADAL" clId="{6C41F733-B975-0A41-9671-1CA5A600FEE8}" dt="2024-12-11T13:18:57.122" v="466" actId="14100"/>
          <ac:spMkLst>
            <pc:docMk/>
            <pc:sldMk cId="2428574211" sldId="912"/>
            <ac:spMk id="111" creationId="{2F04CA1E-5B52-9F92-AE99-85CA800B589E}"/>
          </ac:spMkLst>
        </pc:spChg>
        <pc:grpChg chg="add">
          <ac:chgData name="uermo" userId="45a83561-e1b9-4343-a344-05d35c083fc5" providerId="ADAL" clId="{6C41F733-B975-0A41-9671-1CA5A600FEE8}" dt="2024-12-11T13:19:10.840" v="467" actId="164"/>
          <ac:grpSpMkLst>
            <pc:docMk/>
            <pc:sldMk cId="2428574211" sldId="912"/>
            <ac:grpSpMk id="7" creationId="{1A35593F-B821-2A72-0E19-BCF77A550D6A}"/>
          </ac:grpSpMkLst>
        </pc:grpChg>
        <pc:grpChg chg="mod">
          <ac:chgData name="uermo" userId="45a83561-e1b9-4343-a344-05d35c083fc5" providerId="ADAL" clId="{6C41F733-B975-0A41-9671-1CA5A600FEE8}" dt="2024-12-11T13:17:09.684" v="456" actId="207"/>
          <ac:grpSpMkLst>
            <pc:docMk/>
            <pc:sldMk cId="2428574211" sldId="912"/>
            <ac:grpSpMk id="60" creationId="{EC615D25-C329-F090-5CDE-DE41C0495C4F}"/>
          </ac:grpSpMkLst>
        </pc:grpChg>
        <pc:grpChg chg="mod">
          <ac:chgData name="uermo" userId="45a83561-e1b9-4343-a344-05d35c083fc5" providerId="ADAL" clId="{6C41F733-B975-0A41-9671-1CA5A600FEE8}" dt="2024-12-11T13:17:09.684" v="456" actId="207"/>
          <ac:grpSpMkLst>
            <pc:docMk/>
            <pc:sldMk cId="2428574211" sldId="912"/>
            <ac:grpSpMk id="96" creationId="{3D451561-F012-40F7-1947-A226A1E7561D}"/>
          </ac:grpSpMkLst>
        </pc:grpChg>
      </pc:sldChg>
      <pc:sldChg chg="addSp delSp modSp add del mod delAnim">
        <pc:chgData name="uermo" userId="45a83561-e1b9-4343-a344-05d35c083fc5" providerId="ADAL" clId="{6C41F733-B975-0A41-9671-1CA5A600FEE8}" dt="2024-12-11T13:15:18.411" v="447" actId="2696"/>
        <pc:sldMkLst>
          <pc:docMk/>
          <pc:sldMk cId="3438532631" sldId="912"/>
        </pc:sldMkLst>
        <pc:spChg chg="mod">
          <ac:chgData name="uermo" userId="45a83561-e1b9-4343-a344-05d35c083fc5" providerId="ADAL" clId="{6C41F733-B975-0A41-9671-1CA5A600FEE8}" dt="2024-12-11T13:14:37.503" v="443"/>
          <ac:spMkLst>
            <pc:docMk/>
            <pc:sldMk cId="3438532631" sldId="912"/>
            <ac:spMk id="15" creationId="{BCC5AF7D-916E-DEAA-882B-318B92CBFCDC}"/>
          </ac:spMkLst>
        </pc:spChg>
        <pc:spChg chg="mod">
          <ac:chgData name="uermo" userId="45a83561-e1b9-4343-a344-05d35c083fc5" providerId="ADAL" clId="{6C41F733-B975-0A41-9671-1CA5A600FEE8}" dt="2024-12-11T13:14:37.503" v="443"/>
          <ac:spMkLst>
            <pc:docMk/>
            <pc:sldMk cId="3438532631" sldId="912"/>
            <ac:spMk id="16" creationId="{1B59EE16-08E2-2390-3E99-CD33AEE1311A}"/>
          </ac:spMkLst>
        </pc:spChg>
        <pc:spChg chg="del">
          <ac:chgData name="uermo" userId="45a83561-e1b9-4343-a344-05d35c083fc5" providerId="ADAL" clId="{6C41F733-B975-0A41-9671-1CA5A600FEE8}" dt="2024-12-11T13:14:31.055" v="442" actId="478"/>
          <ac:spMkLst>
            <pc:docMk/>
            <pc:sldMk cId="3438532631" sldId="912"/>
            <ac:spMk id="17" creationId="{AE80A06C-9A00-0331-1185-CA98898F875A}"/>
          </ac:spMkLst>
        </pc:spChg>
        <pc:spChg chg="del">
          <ac:chgData name="uermo" userId="45a83561-e1b9-4343-a344-05d35c083fc5" providerId="ADAL" clId="{6C41F733-B975-0A41-9671-1CA5A600FEE8}" dt="2024-12-11T13:14:31.055" v="442" actId="478"/>
          <ac:spMkLst>
            <pc:docMk/>
            <pc:sldMk cId="3438532631" sldId="912"/>
            <ac:spMk id="18" creationId="{07D99EF9-B347-8445-5261-32074ADC8F32}"/>
          </ac:spMkLst>
        </pc:spChg>
        <pc:spChg chg="del">
          <ac:chgData name="uermo" userId="45a83561-e1b9-4343-a344-05d35c083fc5" providerId="ADAL" clId="{6C41F733-B975-0A41-9671-1CA5A600FEE8}" dt="2024-12-11T13:14:31.055" v="442" actId="478"/>
          <ac:spMkLst>
            <pc:docMk/>
            <pc:sldMk cId="3438532631" sldId="912"/>
            <ac:spMk id="19" creationId="{E505AC0A-F2DE-0993-C9C6-72B244575E3C}"/>
          </ac:spMkLst>
        </pc:spChg>
        <pc:spChg chg="del">
          <ac:chgData name="uermo" userId="45a83561-e1b9-4343-a344-05d35c083fc5" providerId="ADAL" clId="{6C41F733-B975-0A41-9671-1CA5A600FEE8}" dt="2024-12-11T13:14:31.055" v="442" actId="478"/>
          <ac:spMkLst>
            <pc:docMk/>
            <pc:sldMk cId="3438532631" sldId="912"/>
            <ac:spMk id="20" creationId="{117107CC-C3E2-E7A9-5226-90E787A2C562}"/>
          </ac:spMkLst>
        </pc:spChg>
        <pc:spChg chg="del">
          <ac:chgData name="uermo" userId="45a83561-e1b9-4343-a344-05d35c083fc5" providerId="ADAL" clId="{6C41F733-B975-0A41-9671-1CA5A600FEE8}" dt="2024-12-11T13:14:31.055" v="442" actId="478"/>
          <ac:spMkLst>
            <pc:docMk/>
            <pc:sldMk cId="3438532631" sldId="912"/>
            <ac:spMk id="21" creationId="{F4C2BE96-ADB3-C535-0DC3-BC34A978B763}"/>
          </ac:spMkLst>
        </pc:spChg>
        <pc:spChg chg="mod">
          <ac:chgData name="uermo" userId="45a83561-e1b9-4343-a344-05d35c083fc5" providerId="ADAL" clId="{6C41F733-B975-0A41-9671-1CA5A600FEE8}" dt="2024-12-11T13:14:37.503" v="443"/>
          <ac:spMkLst>
            <pc:docMk/>
            <pc:sldMk cId="3438532631" sldId="912"/>
            <ac:spMk id="22" creationId="{B18126A7-387F-D939-4075-14AA98BA9633}"/>
          </ac:spMkLst>
        </pc:spChg>
        <pc:spChg chg="del">
          <ac:chgData name="uermo" userId="45a83561-e1b9-4343-a344-05d35c083fc5" providerId="ADAL" clId="{6C41F733-B975-0A41-9671-1CA5A600FEE8}" dt="2024-12-11T13:14:31.055" v="442" actId="478"/>
          <ac:spMkLst>
            <pc:docMk/>
            <pc:sldMk cId="3438532631" sldId="912"/>
            <ac:spMk id="23" creationId="{3575D2FA-6F9B-092C-AB3C-973DEDB6446D}"/>
          </ac:spMkLst>
        </pc:spChg>
        <pc:spChg chg="mod">
          <ac:chgData name="uermo" userId="45a83561-e1b9-4343-a344-05d35c083fc5" providerId="ADAL" clId="{6C41F733-B975-0A41-9671-1CA5A600FEE8}" dt="2024-12-11T13:14:37.503" v="443"/>
          <ac:spMkLst>
            <pc:docMk/>
            <pc:sldMk cId="3438532631" sldId="912"/>
            <ac:spMk id="24" creationId="{A8C1057D-C926-0A5E-E968-F4DEB5C94D8F}"/>
          </ac:spMkLst>
        </pc:spChg>
        <pc:spChg chg="mod">
          <ac:chgData name="uermo" userId="45a83561-e1b9-4343-a344-05d35c083fc5" providerId="ADAL" clId="{6C41F733-B975-0A41-9671-1CA5A600FEE8}" dt="2024-12-11T13:14:37.503" v="443"/>
          <ac:spMkLst>
            <pc:docMk/>
            <pc:sldMk cId="3438532631" sldId="912"/>
            <ac:spMk id="25" creationId="{AF0202D8-77A9-1651-060B-69F246E0E3FE}"/>
          </ac:spMkLst>
        </pc:spChg>
        <pc:spChg chg="del">
          <ac:chgData name="uermo" userId="45a83561-e1b9-4343-a344-05d35c083fc5" providerId="ADAL" clId="{6C41F733-B975-0A41-9671-1CA5A600FEE8}" dt="2024-12-11T13:14:31.055" v="442" actId="478"/>
          <ac:spMkLst>
            <pc:docMk/>
            <pc:sldMk cId="3438532631" sldId="912"/>
            <ac:spMk id="26" creationId="{8665D88C-F076-4309-94E2-7F88A6B514DE}"/>
          </ac:spMkLst>
        </pc:spChg>
        <pc:spChg chg="del">
          <ac:chgData name="uermo" userId="45a83561-e1b9-4343-a344-05d35c083fc5" providerId="ADAL" clId="{6C41F733-B975-0A41-9671-1CA5A600FEE8}" dt="2024-12-11T13:14:31.055" v="442" actId="478"/>
          <ac:spMkLst>
            <pc:docMk/>
            <pc:sldMk cId="3438532631" sldId="912"/>
            <ac:spMk id="27" creationId="{6CC07875-AAE1-02DB-34C8-13C857851062}"/>
          </ac:spMkLst>
        </pc:spChg>
        <pc:spChg chg="del">
          <ac:chgData name="uermo" userId="45a83561-e1b9-4343-a344-05d35c083fc5" providerId="ADAL" clId="{6C41F733-B975-0A41-9671-1CA5A600FEE8}" dt="2024-12-11T13:14:31.055" v="442" actId="478"/>
          <ac:spMkLst>
            <pc:docMk/>
            <pc:sldMk cId="3438532631" sldId="912"/>
            <ac:spMk id="28" creationId="{03BBE53A-0CED-E351-EB02-A34A3E270F00}"/>
          </ac:spMkLst>
        </pc:spChg>
        <pc:spChg chg="del">
          <ac:chgData name="uermo" userId="45a83561-e1b9-4343-a344-05d35c083fc5" providerId="ADAL" clId="{6C41F733-B975-0A41-9671-1CA5A600FEE8}" dt="2024-12-11T13:14:31.055" v="442" actId="478"/>
          <ac:spMkLst>
            <pc:docMk/>
            <pc:sldMk cId="3438532631" sldId="912"/>
            <ac:spMk id="29" creationId="{A565506A-4174-2C39-5D70-EF73E7636AD5}"/>
          </ac:spMkLst>
        </pc:spChg>
        <pc:spChg chg="del">
          <ac:chgData name="uermo" userId="45a83561-e1b9-4343-a344-05d35c083fc5" providerId="ADAL" clId="{6C41F733-B975-0A41-9671-1CA5A600FEE8}" dt="2024-12-11T13:14:31.055" v="442" actId="478"/>
          <ac:spMkLst>
            <pc:docMk/>
            <pc:sldMk cId="3438532631" sldId="912"/>
            <ac:spMk id="31" creationId="{D2D982A2-83F9-2FDD-6AE6-D9D0D6AE8AA0}"/>
          </ac:spMkLst>
        </pc:spChg>
        <pc:spChg chg="mod">
          <ac:chgData name="uermo" userId="45a83561-e1b9-4343-a344-05d35c083fc5" providerId="ADAL" clId="{6C41F733-B975-0A41-9671-1CA5A600FEE8}" dt="2024-12-11T13:14:37.503" v="443"/>
          <ac:spMkLst>
            <pc:docMk/>
            <pc:sldMk cId="3438532631" sldId="912"/>
            <ac:spMk id="32" creationId="{6FC5C4D5-D892-84D3-EB68-74A470CA2B18}"/>
          </ac:spMkLst>
        </pc:spChg>
        <pc:spChg chg="del">
          <ac:chgData name="uermo" userId="45a83561-e1b9-4343-a344-05d35c083fc5" providerId="ADAL" clId="{6C41F733-B975-0A41-9671-1CA5A600FEE8}" dt="2024-12-11T13:14:31.055" v="442" actId="478"/>
          <ac:spMkLst>
            <pc:docMk/>
            <pc:sldMk cId="3438532631" sldId="912"/>
            <ac:spMk id="33" creationId="{E0ED151A-A543-89CB-AA78-68DA573BF2D2}"/>
          </ac:spMkLst>
        </pc:spChg>
        <pc:spChg chg="del">
          <ac:chgData name="uermo" userId="45a83561-e1b9-4343-a344-05d35c083fc5" providerId="ADAL" clId="{6C41F733-B975-0A41-9671-1CA5A600FEE8}" dt="2024-12-11T13:14:31.055" v="442" actId="478"/>
          <ac:spMkLst>
            <pc:docMk/>
            <pc:sldMk cId="3438532631" sldId="912"/>
            <ac:spMk id="34" creationId="{7C6588EB-EA8E-E651-E60B-FFC250A93A87}"/>
          </ac:spMkLst>
        </pc:spChg>
        <pc:spChg chg="del">
          <ac:chgData name="uermo" userId="45a83561-e1b9-4343-a344-05d35c083fc5" providerId="ADAL" clId="{6C41F733-B975-0A41-9671-1CA5A600FEE8}" dt="2024-12-11T13:14:31.055" v="442" actId="478"/>
          <ac:spMkLst>
            <pc:docMk/>
            <pc:sldMk cId="3438532631" sldId="912"/>
            <ac:spMk id="35" creationId="{031D49EB-E573-5A6D-A521-65EBBF329112}"/>
          </ac:spMkLst>
        </pc:spChg>
        <pc:spChg chg="del">
          <ac:chgData name="uermo" userId="45a83561-e1b9-4343-a344-05d35c083fc5" providerId="ADAL" clId="{6C41F733-B975-0A41-9671-1CA5A600FEE8}" dt="2024-12-11T13:14:31.055" v="442" actId="478"/>
          <ac:spMkLst>
            <pc:docMk/>
            <pc:sldMk cId="3438532631" sldId="912"/>
            <ac:spMk id="36" creationId="{B24F43CD-70D5-6FF5-0118-87D2EE9D67E5}"/>
          </ac:spMkLst>
        </pc:spChg>
        <pc:spChg chg="del">
          <ac:chgData name="uermo" userId="45a83561-e1b9-4343-a344-05d35c083fc5" providerId="ADAL" clId="{6C41F733-B975-0A41-9671-1CA5A600FEE8}" dt="2024-12-11T13:14:31.055" v="442" actId="478"/>
          <ac:spMkLst>
            <pc:docMk/>
            <pc:sldMk cId="3438532631" sldId="912"/>
            <ac:spMk id="37" creationId="{8E1BBB21-5970-94BF-1394-60A2E9121A69}"/>
          </ac:spMkLst>
        </pc:spChg>
        <pc:spChg chg="mod">
          <ac:chgData name="uermo" userId="45a83561-e1b9-4343-a344-05d35c083fc5" providerId="ADAL" clId="{6C41F733-B975-0A41-9671-1CA5A600FEE8}" dt="2024-12-11T13:14:37.503" v="443"/>
          <ac:spMkLst>
            <pc:docMk/>
            <pc:sldMk cId="3438532631" sldId="912"/>
            <ac:spMk id="38" creationId="{8DFB92B3-492C-DAEB-6B97-5F89F5BD8E70}"/>
          </ac:spMkLst>
        </pc:spChg>
        <pc:spChg chg="mod">
          <ac:chgData name="uermo" userId="45a83561-e1b9-4343-a344-05d35c083fc5" providerId="ADAL" clId="{6C41F733-B975-0A41-9671-1CA5A600FEE8}" dt="2024-12-11T13:14:37.503" v="443"/>
          <ac:spMkLst>
            <pc:docMk/>
            <pc:sldMk cId="3438532631" sldId="912"/>
            <ac:spMk id="39" creationId="{D4C63E91-6FAC-04C7-AC7B-AC88401BE2C8}"/>
          </ac:spMkLst>
        </pc:spChg>
        <pc:spChg chg="del">
          <ac:chgData name="uermo" userId="45a83561-e1b9-4343-a344-05d35c083fc5" providerId="ADAL" clId="{6C41F733-B975-0A41-9671-1CA5A600FEE8}" dt="2024-12-11T13:14:31.055" v="442" actId="478"/>
          <ac:spMkLst>
            <pc:docMk/>
            <pc:sldMk cId="3438532631" sldId="912"/>
            <ac:spMk id="40" creationId="{E3DEAA80-2740-A44A-20CA-24EFF6BBB6DD}"/>
          </ac:spMkLst>
        </pc:spChg>
        <pc:spChg chg="del">
          <ac:chgData name="uermo" userId="45a83561-e1b9-4343-a344-05d35c083fc5" providerId="ADAL" clId="{6C41F733-B975-0A41-9671-1CA5A600FEE8}" dt="2024-12-11T13:14:31.055" v="442" actId="478"/>
          <ac:spMkLst>
            <pc:docMk/>
            <pc:sldMk cId="3438532631" sldId="912"/>
            <ac:spMk id="41" creationId="{EA920A73-B22A-D617-F388-853E780ACE54}"/>
          </ac:spMkLst>
        </pc:spChg>
        <pc:spChg chg="mod">
          <ac:chgData name="uermo" userId="45a83561-e1b9-4343-a344-05d35c083fc5" providerId="ADAL" clId="{6C41F733-B975-0A41-9671-1CA5A600FEE8}" dt="2024-12-11T13:14:37.503" v="443"/>
          <ac:spMkLst>
            <pc:docMk/>
            <pc:sldMk cId="3438532631" sldId="912"/>
            <ac:spMk id="42" creationId="{9E615F6A-03C9-6D07-FE89-FBE54E97E798}"/>
          </ac:spMkLst>
        </pc:spChg>
        <pc:spChg chg="mod">
          <ac:chgData name="uermo" userId="45a83561-e1b9-4343-a344-05d35c083fc5" providerId="ADAL" clId="{6C41F733-B975-0A41-9671-1CA5A600FEE8}" dt="2024-12-11T13:14:37.503" v="443"/>
          <ac:spMkLst>
            <pc:docMk/>
            <pc:sldMk cId="3438532631" sldId="912"/>
            <ac:spMk id="43" creationId="{84A44516-6546-99F5-3774-59FD28E07DC6}"/>
          </ac:spMkLst>
        </pc:spChg>
        <pc:spChg chg="del">
          <ac:chgData name="uermo" userId="45a83561-e1b9-4343-a344-05d35c083fc5" providerId="ADAL" clId="{6C41F733-B975-0A41-9671-1CA5A600FEE8}" dt="2024-12-11T13:14:31.055" v="442" actId="478"/>
          <ac:spMkLst>
            <pc:docMk/>
            <pc:sldMk cId="3438532631" sldId="912"/>
            <ac:spMk id="44" creationId="{59B3CCED-E55C-3FAD-1BB0-78EEADF3C9C5}"/>
          </ac:spMkLst>
        </pc:spChg>
        <pc:spChg chg="del">
          <ac:chgData name="uermo" userId="45a83561-e1b9-4343-a344-05d35c083fc5" providerId="ADAL" clId="{6C41F733-B975-0A41-9671-1CA5A600FEE8}" dt="2024-12-11T13:14:31.055" v="442" actId="478"/>
          <ac:spMkLst>
            <pc:docMk/>
            <pc:sldMk cId="3438532631" sldId="912"/>
            <ac:spMk id="45" creationId="{511D4C0F-B872-9356-788B-16844BB6FB22}"/>
          </ac:spMkLst>
        </pc:spChg>
        <pc:spChg chg="del">
          <ac:chgData name="uermo" userId="45a83561-e1b9-4343-a344-05d35c083fc5" providerId="ADAL" clId="{6C41F733-B975-0A41-9671-1CA5A600FEE8}" dt="2024-12-11T13:14:31.055" v="442" actId="478"/>
          <ac:spMkLst>
            <pc:docMk/>
            <pc:sldMk cId="3438532631" sldId="912"/>
            <ac:spMk id="46" creationId="{0157080A-00CE-0C0A-E1B8-6705BADB6CE6}"/>
          </ac:spMkLst>
        </pc:spChg>
        <pc:spChg chg="del">
          <ac:chgData name="uermo" userId="45a83561-e1b9-4343-a344-05d35c083fc5" providerId="ADAL" clId="{6C41F733-B975-0A41-9671-1CA5A600FEE8}" dt="2024-12-11T13:14:31.055" v="442" actId="478"/>
          <ac:spMkLst>
            <pc:docMk/>
            <pc:sldMk cId="3438532631" sldId="912"/>
            <ac:spMk id="47" creationId="{DDEB8E72-FCBC-4791-A902-9151D7D226CF}"/>
          </ac:spMkLst>
        </pc:spChg>
        <pc:spChg chg="mod">
          <ac:chgData name="uermo" userId="45a83561-e1b9-4343-a344-05d35c083fc5" providerId="ADAL" clId="{6C41F733-B975-0A41-9671-1CA5A600FEE8}" dt="2024-12-11T13:14:37.503" v="443"/>
          <ac:spMkLst>
            <pc:docMk/>
            <pc:sldMk cId="3438532631" sldId="912"/>
            <ac:spMk id="48" creationId="{30A4E579-B1BA-97FE-6B26-33F48ED0DDFA}"/>
          </ac:spMkLst>
        </pc:spChg>
        <pc:spChg chg="del">
          <ac:chgData name="uermo" userId="45a83561-e1b9-4343-a344-05d35c083fc5" providerId="ADAL" clId="{6C41F733-B975-0A41-9671-1CA5A600FEE8}" dt="2024-12-11T13:14:31.055" v="442" actId="478"/>
          <ac:spMkLst>
            <pc:docMk/>
            <pc:sldMk cId="3438532631" sldId="912"/>
            <ac:spMk id="51" creationId="{E0B23AD8-719C-9274-6C5B-F6E68395FF5B}"/>
          </ac:spMkLst>
        </pc:spChg>
        <pc:spChg chg="del">
          <ac:chgData name="uermo" userId="45a83561-e1b9-4343-a344-05d35c083fc5" providerId="ADAL" clId="{6C41F733-B975-0A41-9671-1CA5A600FEE8}" dt="2024-12-11T13:14:31.055" v="442" actId="478"/>
          <ac:spMkLst>
            <pc:docMk/>
            <pc:sldMk cId="3438532631" sldId="912"/>
            <ac:spMk id="52" creationId="{29195386-21F3-5CAA-8AFC-3409EA24AA96}"/>
          </ac:spMkLst>
        </pc:spChg>
        <pc:spChg chg="del">
          <ac:chgData name="uermo" userId="45a83561-e1b9-4343-a344-05d35c083fc5" providerId="ADAL" clId="{6C41F733-B975-0A41-9671-1CA5A600FEE8}" dt="2024-12-11T13:14:31.055" v="442" actId="478"/>
          <ac:spMkLst>
            <pc:docMk/>
            <pc:sldMk cId="3438532631" sldId="912"/>
            <ac:spMk id="53" creationId="{6AC89D7E-D5F8-CACB-8177-A1CE9B90F439}"/>
          </ac:spMkLst>
        </pc:spChg>
        <pc:spChg chg="del">
          <ac:chgData name="uermo" userId="45a83561-e1b9-4343-a344-05d35c083fc5" providerId="ADAL" clId="{6C41F733-B975-0A41-9671-1CA5A600FEE8}" dt="2024-12-11T13:14:31.055" v="442" actId="478"/>
          <ac:spMkLst>
            <pc:docMk/>
            <pc:sldMk cId="3438532631" sldId="912"/>
            <ac:spMk id="54" creationId="{89E1ACBD-ACE9-7B36-FB05-8881D3A4EF77}"/>
          </ac:spMkLst>
        </pc:spChg>
        <pc:spChg chg="mod">
          <ac:chgData name="uermo" userId="45a83561-e1b9-4343-a344-05d35c083fc5" providerId="ADAL" clId="{6C41F733-B975-0A41-9671-1CA5A600FEE8}" dt="2024-12-11T13:14:37.503" v="443"/>
          <ac:spMkLst>
            <pc:docMk/>
            <pc:sldMk cId="3438532631" sldId="912"/>
            <ac:spMk id="55" creationId="{8C7DA2CD-8ACD-0D45-C947-4A8E3852875C}"/>
          </ac:spMkLst>
        </pc:spChg>
        <pc:spChg chg="del">
          <ac:chgData name="uermo" userId="45a83561-e1b9-4343-a344-05d35c083fc5" providerId="ADAL" clId="{6C41F733-B975-0A41-9671-1CA5A600FEE8}" dt="2024-12-11T13:14:31.055" v="442" actId="478"/>
          <ac:spMkLst>
            <pc:docMk/>
            <pc:sldMk cId="3438532631" sldId="912"/>
            <ac:spMk id="56" creationId="{25C3F0D4-A0E3-4CA7-06F8-55CBC5961173}"/>
          </ac:spMkLst>
        </pc:spChg>
        <pc:spChg chg="del">
          <ac:chgData name="uermo" userId="45a83561-e1b9-4343-a344-05d35c083fc5" providerId="ADAL" clId="{6C41F733-B975-0A41-9671-1CA5A600FEE8}" dt="2024-12-11T13:14:31.055" v="442" actId="478"/>
          <ac:spMkLst>
            <pc:docMk/>
            <pc:sldMk cId="3438532631" sldId="912"/>
            <ac:spMk id="57" creationId="{E350594F-087E-7187-9A6F-199368E514DA}"/>
          </ac:spMkLst>
        </pc:spChg>
        <pc:spChg chg="del">
          <ac:chgData name="uermo" userId="45a83561-e1b9-4343-a344-05d35c083fc5" providerId="ADAL" clId="{6C41F733-B975-0A41-9671-1CA5A600FEE8}" dt="2024-12-11T13:14:31.055" v="442" actId="478"/>
          <ac:spMkLst>
            <pc:docMk/>
            <pc:sldMk cId="3438532631" sldId="912"/>
            <ac:spMk id="58" creationId="{CF242EE4-0A0E-0006-40CE-F7FC90765EEC}"/>
          </ac:spMkLst>
        </pc:spChg>
        <pc:spChg chg="mod">
          <ac:chgData name="uermo" userId="45a83561-e1b9-4343-a344-05d35c083fc5" providerId="ADAL" clId="{6C41F733-B975-0A41-9671-1CA5A600FEE8}" dt="2024-12-11T13:14:37.503" v="443"/>
          <ac:spMkLst>
            <pc:docMk/>
            <pc:sldMk cId="3438532631" sldId="912"/>
            <ac:spMk id="59" creationId="{9E75A1D4-E97E-FF28-6559-470EB08975BC}"/>
          </ac:spMkLst>
        </pc:spChg>
        <pc:spChg chg="mod">
          <ac:chgData name="uermo" userId="45a83561-e1b9-4343-a344-05d35c083fc5" providerId="ADAL" clId="{6C41F733-B975-0A41-9671-1CA5A600FEE8}" dt="2024-12-11T13:14:37.503" v="443"/>
          <ac:spMkLst>
            <pc:docMk/>
            <pc:sldMk cId="3438532631" sldId="912"/>
            <ac:spMk id="63" creationId="{26F34DD0-CF1D-D347-5363-8AEE4C9E3479}"/>
          </ac:spMkLst>
        </pc:spChg>
        <pc:spChg chg="mod">
          <ac:chgData name="uermo" userId="45a83561-e1b9-4343-a344-05d35c083fc5" providerId="ADAL" clId="{6C41F733-B975-0A41-9671-1CA5A600FEE8}" dt="2024-12-11T13:14:37.503" v="443"/>
          <ac:spMkLst>
            <pc:docMk/>
            <pc:sldMk cId="3438532631" sldId="912"/>
            <ac:spMk id="64" creationId="{61956691-34F6-C71D-81A1-8AB1031AAD89}"/>
          </ac:spMkLst>
        </pc:spChg>
        <pc:spChg chg="mod">
          <ac:chgData name="uermo" userId="45a83561-e1b9-4343-a344-05d35c083fc5" providerId="ADAL" clId="{6C41F733-B975-0A41-9671-1CA5A600FEE8}" dt="2024-12-11T13:14:37.503" v="443"/>
          <ac:spMkLst>
            <pc:docMk/>
            <pc:sldMk cId="3438532631" sldId="912"/>
            <ac:spMk id="66" creationId="{4D9FE96B-6CA4-F68D-99D3-87D2368B2822}"/>
          </ac:spMkLst>
        </pc:spChg>
        <pc:spChg chg="mod">
          <ac:chgData name="uermo" userId="45a83561-e1b9-4343-a344-05d35c083fc5" providerId="ADAL" clId="{6C41F733-B975-0A41-9671-1CA5A600FEE8}" dt="2024-12-11T13:14:37.503" v="443"/>
          <ac:spMkLst>
            <pc:docMk/>
            <pc:sldMk cId="3438532631" sldId="912"/>
            <ac:spMk id="67" creationId="{73A6D303-AADE-DA3B-90F1-CD3AD72D2178}"/>
          </ac:spMkLst>
        </pc:spChg>
        <pc:spChg chg="del">
          <ac:chgData name="uermo" userId="45a83561-e1b9-4343-a344-05d35c083fc5" providerId="ADAL" clId="{6C41F733-B975-0A41-9671-1CA5A600FEE8}" dt="2024-12-11T13:14:31.055" v="442" actId="478"/>
          <ac:spMkLst>
            <pc:docMk/>
            <pc:sldMk cId="3438532631" sldId="912"/>
            <ac:spMk id="68" creationId="{BC759479-433F-B14D-C83D-88C6E11ACB3C}"/>
          </ac:spMkLst>
        </pc:spChg>
        <pc:spChg chg="del">
          <ac:chgData name="uermo" userId="45a83561-e1b9-4343-a344-05d35c083fc5" providerId="ADAL" clId="{6C41F733-B975-0A41-9671-1CA5A600FEE8}" dt="2024-12-11T13:14:31.055" v="442" actId="478"/>
          <ac:spMkLst>
            <pc:docMk/>
            <pc:sldMk cId="3438532631" sldId="912"/>
            <ac:spMk id="69" creationId="{C0223034-C737-57D8-F974-22340880F1EF}"/>
          </ac:spMkLst>
        </pc:spChg>
        <pc:spChg chg="del">
          <ac:chgData name="uermo" userId="45a83561-e1b9-4343-a344-05d35c083fc5" providerId="ADAL" clId="{6C41F733-B975-0A41-9671-1CA5A600FEE8}" dt="2024-12-11T13:14:31.055" v="442" actId="478"/>
          <ac:spMkLst>
            <pc:docMk/>
            <pc:sldMk cId="3438532631" sldId="912"/>
            <ac:spMk id="70" creationId="{2EF77CE8-E62B-09DC-7F4B-5B9E3C2B3D36}"/>
          </ac:spMkLst>
        </pc:spChg>
        <pc:spChg chg="mod">
          <ac:chgData name="uermo" userId="45a83561-e1b9-4343-a344-05d35c083fc5" providerId="ADAL" clId="{6C41F733-B975-0A41-9671-1CA5A600FEE8}" dt="2024-12-11T13:14:37.503" v="443"/>
          <ac:spMkLst>
            <pc:docMk/>
            <pc:sldMk cId="3438532631" sldId="912"/>
            <ac:spMk id="71" creationId="{94D2279B-1676-45A7-91CC-52A445165AF6}"/>
          </ac:spMkLst>
        </pc:spChg>
        <pc:spChg chg="mod">
          <ac:chgData name="uermo" userId="45a83561-e1b9-4343-a344-05d35c083fc5" providerId="ADAL" clId="{6C41F733-B975-0A41-9671-1CA5A600FEE8}" dt="2024-12-11T13:14:37.503" v="443"/>
          <ac:spMkLst>
            <pc:docMk/>
            <pc:sldMk cId="3438532631" sldId="912"/>
            <ac:spMk id="72" creationId="{881BA4DB-AA46-0CA6-5852-26964100CC9D}"/>
          </ac:spMkLst>
        </pc:spChg>
        <pc:spChg chg="mod">
          <ac:chgData name="uermo" userId="45a83561-e1b9-4343-a344-05d35c083fc5" providerId="ADAL" clId="{6C41F733-B975-0A41-9671-1CA5A600FEE8}" dt="2024-12-11T13:14:37.503" v="443"/>
          <ac:spMkLst>
            <pc:docMk/>
            <pc:sldMk cId="3438532631" sldId="912"/>
            <ac:spMk id="73" creationId="{132C671A-44BF-AE11-403E-DBF02C587933}"/>
          </ac:spMkLst>
        </pc:spChg>
        <pc:spChg chg="mod">
          <ac:chgData name="uermo" userId="45a83561-e1b9-4343-a344-05d35c083fc5" providerId="ADAL" clId="{6C41F733-B975-0A41-9671-1CA5A600FEE8}" dt="2024-12-11T13:14:37.503" v="443"/>
          <ac:spMkLst>
            <pc:docMk/>
            <pc:sldMk cId="3438532631" sldId="912"/>
            <ac:spMk id="74" creationId="{111936D3-FCAF-A1DB-B47F-280B0D7AD433}"/>
          </ac:spMkLst>
        </pc:spChg>
        <pc:spChg chg="mod">
          <ac:chgData name="uermo" userId="45a83561-e1b9-4343-a344-05d35c083fc5" providerId="ADAL" clId="{6C41F733-B975-0A41-9671-1CA5A600FEE8}" dt="2024-12-11T13:14:37.503" v="443"/>
          <ac:spMkLst>
            <pc:docMk/>
            <pc:sldMk cId="3438532631" sldId="912"/>
            <ac:spMk id="75" creationId="{DE4264CE-0D51-41A5-9E2A-55670A0C4065}"/>
          </ac:spMkLst>
        </pc:spChg>
        <pc:spChg chg="mod">
          <ac:chgData name="uermo" userId="45a83561-e1b9-4343-a344-05d35c083fc5" providerId="ADAL" clId="{6C41F733-B975-0A41-9671-1CA5A600FEE8}" dt="2024-12-11T13:14:37.503" v="443"/>
          <ac:spMkLst>
            <pc:docMk/>
            <pc:sldMk cId="3438532631" sldId="912"/>
            <ac:spMk id="76" creationId="{70456273-B9C7-C171-3D70-40AE7DEA084B}"/>
          </ac:spMkLst>
        </pc:spChg>
        <pc:spChg chg="mod">
          <ac:chgData name="uermo" userId="45a83561-e1b9-4343-a344-05d35c083fc5" providerId="ADAL" clId="{6C41F733-B975-0A41-9671-1CA5A600FEE8}" dt="2024-12-11T13:14:37.503" v="443"/>
          <ac:spMkLst>
            <pc:docMk/>
            <pc:sldMk cId="3438532631" sldId="912"/>
            <ac:spMk id="77" creationId="{0DE48ED9-EDF1-4676-5A83-50868FAE783F}"/>
          </ac:spMkLst>
        </pc:spChg>
        <pc:spChg chg="mod">
          <ac:chgData name="uermo" userId="45a83561-e1b9-4343-a344-05d35c083fc5" providerId="ADAL" clId="{6C41F733-B975-0A41-9671-1CA5A600FEE8}" dt="2024-12-11T13:14:37.503" v="443"/>
          <ac:spMkLst>
            <pc:docMk/>
            <pc:sldMk cId="3438532631" sldId="912"/>
            <ac:spMk id="78" creationId="{D500CDC7-A503-EC5D-717B-B4C9C746E103}"/>
          </ac:spMkLst>
        </pc:spChg>
        <pc:spChg chg="mod">
          <ac:chgData name="uermo" userId="45a83561-e1b9-4343-a344-05d35c083fc5" providerId="ADAL" clId="{6C41F733-B975-0A41-9671-1CA5A600FEE8}" dt="2024-12-11T13:14:37.503" v="443"/>
          <ac:spMkLst>
            <pc:docMk/>
            <pc:sldMk cId="3438532631" sldId="912"/>
            <ac:spMk id="79" creationId="{FCC0EED6-563A-B8D8-5C2E-6DD7E4DD7875}"/>
          </ac:spMkLst>
        </pc:spChg>
        <pc:spChg chg="mod">
          <ac:chgData name="uermo" userId="45a83561-e1b9-4343-a344-05d35c083fc5" providerId="ADAL" clId="{6C41F733-B975-0A41-9671-1CA5A600FEE8}" dt="2024-12-11T13:14:37.503" v="443"/>
          <ac:spMkLst>
            <pc:docMk/>
            <pc:sldMk cId="3438532631" sldId="912"/>
            <ac:spMk id="80" creationId="{35C9D086-C5DA-4343-3EED-500FAE27D921}"/>
          </ac:spMkLst>
        </pc:spChg>
        <pc:spChg chg="mod">
          <ac:chgData name="uermo" userId="45a83561-e1b9-4343-a344-05d35c083fc5" providerId="ADAL" clId="{6C41F733-B975-0A41-9671-1CA5A600FEE8}" dt="2024-12-11T13:14:37.503" v="443"/>
          <ac:spMkLst>
            <pc:docMk/>
            <pc:sldMk cId="3438532631" sldId="912"/>
            <ac:spMk id="81" creationId="{8CF960E6-45B6-DE98-B292-B4B03ABF4671}"/>
          </ac:spMkLst>
        </pc:spChg>
        <pc:spChg chg="mod">
          <ac:chgData name="uermo" userId="45a83561-e1b9-4343-a344-05d35c083fc5" providerId="ADAL" clId="{6C41F733-B975-0A41-9671-1CA5A600FEE8}" dt="2024-12-11T13:14:37.503" v="443"/>
          <ac:spMkLst>
            <pc:docMk/>
            <pc:sldMk cId="3438532631" sldId="912"/>
            <ac:spMk id="82" creationId="{F50CA961-724E-4A5C-BF44-480B9101B9E9}"/>
          </ac:spMkLst>
        </pc:spChg>
        <pc:spChg chg="mod">
          <ac:chgData name="uermo" userId="45a83561-e1b9-4343-a344-05d35c083fc5" providerId="ADAL" clId="{6C41F733-B975-0A41-9671-1CA5A600FEE8}" dt="2024-12-11T13:14:37.503" v="443"/>
          <ac:spMkLst>
            <pc:docMk/>
            <pc:sldMk cId="3438532631" sldId="912"/>
            <ac:spMk id="83" creationId="{73F1E59D-AD49-5B32-6FFC-931D579D1EE5}"/>
          </ac:spMkLst>
        </pc:spChg>
        <pc:spChg chg="mod">
          <ac:chgData name="uermo" userId="45a83561-e1b9-4343-a344-05d35c083fc5" providerId="ADAL" clId="{6C41F733-B975-0A41-9671-1CA5A600FEE8}" dt="2024-12-11T13:14:37.503" v="443"/>
          <ac:spMkLst>
            <pc:docMk/>
            <pc:sldMk cId="3438532631" sldId="912"/>
            <ac:spMk id="84" creationId="{9DC213F0-F7B1-9A16-11A0-9A6145B7CCAA}"/>
          </ac:spMkLst>
        </pc:spChg>
        <pc:spChg chg="mod">
          <ac:chgData name="uermo" userId="45a83561-e1b9-4343-a344-05d35c083fc5" providerId="ADAL" clId="{6C41F733-B975-0A41-9671-1CA5A600FEE8}" dt="2024-12-11T13:14:37.503" v="443"/>
          <ac:spMkLst>
            <pc:docMk/>
            <pc:sldMk cId="3438532631" sldId="912"/>
            <ac:spMk id="85" creationId="{C3CE38A3-FE5B-2E9E-452B-BB78403A90DE}"/>
          </ac:spMkLst>
        </pc:spChg>
        <pc:spChg chg="mod">
          <ac:chgData name="uermo" userId="45a83561-e1b9-4343-a344-05d35c083fc5" providerId="ADAL" clId="{6C41F733-B975-0A41-9671-1CA5A600FEE8}" dt="2024-12-11T13:14:37.503" v="443"/>
          <ac:spMkLst>
            <pc:docMk/>
            <pc:sldMk cId="3438532631" sldId="912"/>
            <ac:spMk id="86" creationId="{272B9247-0A29-2AF7-BEBA-07F16652D332}"/>
          </ac:spMkLst>
        </pc:spChg>
        <pc:spChg chg="mod">
          <ac:chgData name="uermo" userId="45a83561-e1b9-4343-a344-05d35c083fc5" providerId="ADAL" clId="{6C41F733-B975-0A41-9671-1CA5A600FEE8}" dt="2024-12-11T13:14:37.503" v="443"/>
          <ac:spMkLst>
            <pc:docMk/>
            <pc:sldMk cId="3438532631" sldId="912"/>
            <ac:spMk id="87" creationId="{30CBC5ED-EEDC-811A-1495-C09D03FD6953}"/>
          </ac:spMkLst>
        </pc:spChg>
        <pc:spChg chg="mod">
          <ac:chgData name="uermo" userId="45a83561-e1b9-4343-a344-05d35c083fc5" providerId="ADAL" clId="{6C41F733-B975-0A41-9671-1CA5A600FEE8}" dt="2024-12-11T13:14:37.503" v="443"/>
          <ac:spMkLst>
            <pc:docMk/>
            <pc:sldMk cId="3438532631" sldId="912"/>
            <ac:spMk id="88" creationId="{6490989B-8208-F9DA-0C02-FD653A97CB12}"/>
          </ac:spMkLst>
        </pc:spChg>
        <pc:spChg chg="mod">
          <ac:chgData name="uermo" userId="45a83561-e1b9-4343-a344-05d35c083fc5" providerId="ADAL" clId="{6C41F733-B975-0A41-9671-1CA5A600FEE8}" dt="2024-12-11T13:14:37.503" v="443"/>
          <ac:spMkLst>
            <pc:docMk/>
            <pc:sldMk cId="3438532631" sldId="912"/>
            <ac:spMk id="89" creationId="{962CD2E0-6A29-BC87-39FA-8D0540F220E1}"/>
          </ac:spMkLst>
        </pc:spChg>
        <pc:spChg chg="mod">
          <ac:chgData name="uermo" userId="45a83561-e1b9-4343-a344-05d35c083fc5" providerId="ADAL" clId="{6C41F733-B975-0A41-9671-1CA5A600FEE8}" dt="2024-12-11T13:14:37.503" v="443"/>
          <ac:spMkLst>
            <pc:docMk/>
            <pc:sldMk cId="3438532631" sldId="912"/>
            <ac:spMk id="90" creationId="{4A1F418F-A4E8-6785-C4F9-42C4A2D6442B}"/>
          </ac:spMkLst>
        </pc:spChg>
        <pc:spChg chg="mod">
          <ac:chgData name="uermo" userId="45a83561-e1b9-4343-a344-05d35c083fc5" providerId="ADAL" clId="{6C41F733-B975-0A41-9671-1CA5A600FEE8}" dt="2024-12-11T13:14:37.503" v="443"/>
          <ac:spMkLst>
            <pc:docMk/>
            <pc:sldMk cId="3438532631" sldId="912"/>
            <ac:spMk id="91" creationId="{71406493-528B-259E-46C6-C055BE41C790}"/>
          </ac:spMkLst>
        </pc:spChg>
        <pc:spChg chg="mod">
          <ac:chgData name="uermo" userId="45a83561-e1b9-4343-a344-05d35c083fc5" providerId="ADAL" clId="{6C41F733-B975-0A41-9671-1CA5A600FEE8}" dt="2024-12-11T13:14:37.503" v="443"/>
          <ac:spMkLst>
            <pc:docMk/>
            <pc:sldMk cId="3438532631" sldId="912"/>
            <ac:spMk id="92" creationId="{780C627F-3377-7073-C2E7-0D2CFD7644F5}"/>
          </ac:spMkLst>
        </pc:spChg>
        <pc:spChg chg="mod">
          <ac:chgData name="uermo" userId="45a83561-e1b9-4343-a344-05d35c083fc5" providerId="ADAL" clId="{6C41F733-B975-0A41-9671-1CA5A600FEE8}" dt="2024-12-11T13:14:37.503" v="443"/>
          <ac:spMkLst>
            <pc:docMk/>
            <pc:sldMk cId="3438532631" sldId="912"/>
            <ac:spMk id="93" creationId="{B72D3019-6AFE-C4F3-E62E-4B68AA38E84C}"/>
          </ac:spMkLst>
        </pc:spChg>
        <pc:spChg chg="mod">
          <ac:chgData name="uermo" userId="45a83561-e1b9-4343-a344-05d35c083fc5" providerId="ADAL" clId="{6C41F733-B975-0A41-9671-1CA5A600FEE8}" dt="2024-12-11T13:14:37.503" v="443"/>
          <ac:spMkLst>
            <pc:docMk/>
            <pc:sldMk cId="3438532631" sldId="912"/>
            <ac:spMk id="94" creationId="{BAC8CF8B-5FEA-4232-9B27-CD0B1523A5FC}"/>
          </ac:spMkLst>
        </pc:spChg>
        <pc:spChg chg="mod">
          <ac:chgData name="uermo" userId="45a83561-e1b9-4343-a344-05d35c083fc5" providerId="ADAL" clId="{6C41F733-B975-0A41-9671-1CA5A600FEE8}" dt="2024-12-11T13:14:37.503" v="443"/>
          <ac:spMkLst>
            <pc:docMk/>
            <pc:sldMk cId="3438532631" sldId="912"/>
            <ac:spMk id="95" creationId="{BA6EFA09-6AD9-ECE8-77B2-1C3C1E40974C}"/>
          </ac:spMkLst>
        </pc:spChg>
        <pc:spChg chg="del">
          <ac:chgData name="uermo" userId="45a83561-e1b9-4343-a344-05d35c083fc5" providerId="ADAL" clId="{6C41F733-B975-0A41-9671-1CA5A600FEE8}" dt="2024-12-11T13:14:31.055" v="442" actId="478"/>
          <ac:spMkLst>
            <pc:docMk/>
            <pc:sldMk cId="3438532631" sldId="912"/>
            <ac:spMk id="97" creationId="{56E80B03-D88C-4FF4-43F4-557C5906CD8E}"/>
          </ac:spMkLst>
        </pc:spChg>
        <pc:spChg chg="del">
          <ac:chgData name="uermo" userId="45a83561-e1b9-4343-a344-05d35c083fc5" providerId="ADAL" clId="{6C41F733-B975-0A41-9671-1CA5A600FEE8}" dt="2024-12-11T13:14:31.055" v="442" actId="478"/>
          <ac:spMkLst>
            <pc:docMk/>
            <pc:sldMk cId="3438532631" sldId="912"/>
            <ac:spMk id="98" creationId="{8B63D63F-CCFD-A54D-9F10-1C607752425C}"/>
          </ac:spMkLst>
        </pc:spChg>
        <pc:spChg chg="del">
          <ac:chgData name="uermo" userId="45a83561-e1b9-4343-a344-05d35c083fc5" providerId="ADAL" clId="{6C41F733-B975-0A41-9671-1CA5A600FEE8}" dt="2024-12-11T13:14:31.055" v="442" actId="478"/>
          <ac:spMkLst>
            <pc:docMk/>
            <pc:sldMk cId="3438532631" sldId="912"/>
            <ac:spMk id="99" creationId="{F1D5698F-66A6-957C-1660-61ED585F461F}"/>
          </ac:spMkLst>
        </pc:spChg>
        <pc:spChg chg="del">
          <ac:chgData name="uermo" userId="45a83561-e1b9-4343-a344-05d35c083fc5" providerId="ADAL" clId="{6C41F733-B975-0A41-9671-1CA5A600FEE8}" dt="2024-12-11T13:14:31.055" v="442" actId="478"/>
          <ac:spMkLst>
            <pc:docMk/>
            <pc:sldMk cId="3438532631" sldId="912"/>
            <ac:spMk id="103" creationId="{E600D944-A8CF-BD8F-4366-DF2C09892035}"/>
          </ac:spMkLst>
        </pc:spChg>
        <pc:spChg chg="mod">
          <ac:chgData name="uermo" userId="45a83561-e1b9-4343-a344-05d35c083fc5" providerId="ADAL" clId="{6C41F733-B975-0A41-9671-1CA5A600FEE8}" dt="2024-12-11T13:14:37.503" v="443"/>
          <ac:spMkLst>
            <pc:docMk/>
            <pc:sldMk cId="3438532631" sldId="912"/>
            <ac:spMk id="104" creationId="{9D5F53E6-6C67-F87D-8BBA-2604EEA3166B}"/>
          </ac:spMkLst>
        </pc:spChg>
        <pc:spChg chg="del">
          <ac:chgData name="uermo" userId="45a83561-e1b9-4343-a344-05d35c083fc5" providerId="ADAL" clId="{6C41F733-B975-0A41-9671-1CA5A600FEE8}" dt="2024-12-11T13:14:31.055" v="442" actId="478"/>
          <ac:spMkLst>
            <pc:docMk/>
            <pc:sldMk cId="3438532631" sldId="912"/>
            <ac:spMk id="105" creationId="{DB75BCA2-270C-13F0-C303-38FA7CE425AF}"/>
          </ac:spMkLst>
        </pc:spChg>
        <pc:spChg chg="del">
          <ac:chgData name="uermo" userId="45a83561-e1b9-4343-a344-05d35c083fc5" providerId="ADAL" clId="{6C41F733-B975-0A41-9671-1CA5A600FEE8}" dt="2024-12-11T13:14:31.055" v="442" actId="478"/>
          <ac:spMkLst>
            <pc:docMk/>
            <pc:sldMk cId="3438532631" sldId="912"/>
            <ac:spMk id="106" creationId="{14FC28C3-1F6B-D7BF-D296-FA898D22151D}"/>
          </ac:spMkLst>
        </pc:spChg>
        <pc:spChg chg="del">
          <ac:chgData name="uermo" userId="45a83561-e1b9-4343-a344-05d35c083fc5" providerId="ADAL" clId="{6C41F733-B975-0A41-9671-1CA5A600FEE8}" dt="2024-12-11T13:14:31.055" v="442" actId="478"/>
          <ac:spMkLst>
            <pc:docMk/>
            <pc:sldMk cId="3438532631" sldId="912"/>
            <ac:spMk id="107" creationId="{B11C4D20-7174-DEE1-FD15-08A584EBA0AC}"/>
          </ac:spMkLst>
        </pc:spChg>
        <pc:spChg chg="mod">
          <ac:chgData name="uermo" userId="45a83561-e1b9-4343-a344-05d35c083fc5" providerId="ADAL" clId="{6C41F733-B975-0A41-9671-1CA5A600FEE8}" dt="2024-12-11T13:14:37.503" v="443"/>
          <ac:spMkLst>
            <pc:docMk/>
            <pc:sldMk cId="3438532631" sldId="912"/>
            <ac:spMk id="108" creationId="{3322E700-BF09-955E-9A5B-C0B2C607AFE4}"/>
          </ac:spMkLst>
        </pc:spChg>
        <pc:spChg chg="mod">
          <ac:chgData name="uermo" userId="45a83561-e1b9-4343-a344-05d35c083fc5" providerId="ADAL" clId="{6C41F733-B975-0A41-9671-1CA5A600FEE8}" dt="2024-12-11T13:14:37.503" v="443"/>
          <ac:spMkLst>
            <pc:docMk/>
            <pc:sldMk cId="3438532631" sldId="912"/>
            <ac:spMk id="109" creationId="{22F1E3C0-C9AD-10A7-3EA1-CB5E8FC49549}"/>
          </ac:spMkLst>
        </pc:spChg>
        <pc:spChg chg="mod">
          <ac:chgData name="uermo" userId="45a83561-e1b9-4343-a344-05d35c083fc5" providerId="ADAL" clId="{6C41F733-B975-0A41-9671-1CA5A600FEE8}" dt="2024-12-11T13:14:37.503" v="443"/>
          <ac:spMkLst>
            <pc:docMk/>
            <pc:sldMk cId="3438532631" sldId="912"/>
            <ac:spMk id="110" creationId="{B9BC3837-831E-6BA5-3E83-28EDEC9E349B}"/>
          </ac:spMkLst>
        </pc:spChg>
        <pc:spChg chg="del">
          <ac:chgData name="uermo" userId="45a83561-e1b9-4343-a344-05d35c083fc5" providerId="ADAL" clId="{6C41F733-B975-0A41-9671-1CA5A600FEE8}" dt="2024-12-11T13:14:31.055" v="442" actId="478"/>
          <ac:spMkLst>
            <pc:docMk/>
            <pc:sldMk cId="3438532631" sldId="912"/>
            <ac:spMk id="111" creationId="{CF683B34-5961-046C-8BD4-5EAF11893953}"/>
          </ac:spMkLst>
        </pc:spChg>
        <pc:grpChg chg="add del mod">
          <ac:chgData name="uermo" userId="45a83561-e1b9-4343-a344-05d35c083fc5" providerId="ADAL" clId="{6C41F733-B975-0A41-9671-1CA5A600FEE8}" dt="2024-12-11T13:15:16.201" v="446" actId="478"/>
          <ac:grpSpMkLst>
            <pc:docMk/>
            <pc:sldMk cId="3438532631" sldId="912"/>
            <ac:grpSpMk id="7" creationId="{30CB14E6-C71F-1853-808D-D2DDD199AB39}"/>
          </ac:grpSpMkLst>
        </pc:grpChg>
        <pc:grpChg chg="mod">
          <ac:chgData name="uermo" userId="45a83561-e1b9-4343-a344-05d35c083fc5" providerId="ADAL" clId="{6C41F733-B975-0A41-9671-1CA5A600FEE8}" dt="2024-12-11T13:14:37.503" v="443"/>
          <ac:grpSpMkLst>
            <pc:docMk/>
            <pc:sldMk cId="3438532631" sldId="912"/>
            <ac:grpSpMk id="8" creationId="{D37B297B-B7B7-B927-090D-FB0067B24DDE}"/>
          </ac:grpSpMkLst>
        </pc:grpChg>
        <pc:grpChg chg="mod">
          <ac:chgData name="uermo" userId="45a83561-e1b9-4343-a344-05d35c083fc5" providerId="ADAL" clId="{6C41F733-B975-0A41-9671-1CA5A600FEE8}" dt="2024-12-11T13:14:37.503" v="443"/>
          <ac:grpSpMkLst>
            <pc:docMk/>
            <pc:sldMk cId="3438532631" sldId="912"/>
            <ac:grpSpMk id="9" creationId="{5518EECC-F877-A015-A3AC-C701059313B5}"/>
          </ac:grpSpMkLst>
        </pc:grpChg>
        <pc:grpChg chg="mod">
          <ac:chgData name="uermo" userId="45a83561-e1b9-4343-a344-05d35c083fc5" providerId="ADAL" clId="{6C41F733-B975-0A41-9671-1CA5A600FEE8}" dt="2024-12-11T13:14:37.503" v="443"/>
          <ac:grpSpMkLst>
            <pc:docMk/>
            <pc:sldMk cId="3438532631" sldId="912"/>
            <ac:grpSpMk id="10" creationId="{3BD7E403-F1FC-7F91-58D0-90A1DC7E7167}"/>
          </ac:grpSpMkLst>
        </pc:grpChg>
        <pc:grpChg chg="mod">
          <ac:chgData name="uermo" userId="45a83561-e1b9-4343-a344-05d35c083fc5" providerId="ADAL" clId="{6C41F733-B975-0A41-9671-1CA5A600FEE8}" dt="2024-12-11T13:14:37.503" v="443"/>
          <ac:grpSpMkLst>
            <pc:docMk/>
            <pc:sldMk cId="3438532631" sldId="912"/>
            <ac:grpSpMk id="11" creationId="{4ED7BBB5-ADF4-CC58-2F76-9F9F03043591}"/>
          </ac:grpSpMkLst>
        </pc:grpChg>
        <pc:grpChg chg="mod">
          <ac:chgData name="uermo" userId="45a83561-e1b9-4343-a344-05d35c083fc5" providerId="ADAL" clId="{6C41F733-B975-0A41-9671-1CA5A600FEE8}" dt="2024-12-11T13:14:37.503" v="443"/>
          <ac:grpSpMkLst>
            <pc:docMk/>
            <pc:sldMk cId="3438532631" sldId="912"/>
            <ac:grpSpMk id="12" creationId="{D189D0BB-5AC9-A084-0CA8-CFC07BA7532E}"/>
          </ac:grpSpMkLst>
        </pc:grpChg>
        <pc:grpChg chg="mod">
          <ac:chgData name="uermo" userId="45a83561-e1b9-4343-a344-05d35c083fc5" providerId="ADAL" clId="{6C41F733-B975-0A41-9671-1CA5A600FEE8}" dt="2024-12-11T13:14:37.503" v="443"/>
          <ac:grpSpMkLst>
            <pc:docMk/>
            <pc:sldMk cId="3438532631" sldId="912"/>
            <ac:grpSpMk id="13" creationId="{03AD211C-1ED7-C0D1-FEE2-2CF12AD06486}"/>
          </ac:grpSpMkLst>
        </pc:grpChg>
        <pc:grpChg chg="mod">
          <ac:chgData name="uermo" userId="45a83561-e1b9-4343-a344-05d35c083fc5" providerId="ADAL" clId="{6C41F733-B975-0A41-9671-1CA5A600FEE8}" dt="2024-12-11T13:14:37.503" v="443"/>
          <ac:grpSpMkLst>
            <pc:docMk/>
            <pc:sldMk cId="3438532631" sldId="912"/>
            <ac:grpSpMk id="14" creationId="{5973D82A-36AF-4535-7018-785495BA38B8}"/>
          </ac:grpSpMkLst>
        </pc:grpChg>
        <pc:grpChg chg="mod">
          <ac:chgData name="uermo" userId="45a83561-e1b9-4343-a344-05d35c083fc5" providerId="ADAL" clId="{6C41F733-B975-0A41-9671-1CA5A600FEE8}" dt="2024-12-11T13:14:37.503" v="443"/>
          <ac:grpSpMkLst>
            <pc:docMk/>
            <pc:sldMk cId="3438532631" sldId="912"/>
            <ac:grpSpMk id="30" creationId="{97AE058B-1E9E-D0BA-7A1D-E19CC458581B}"/>
          </ac:grpSpMkLst>
        </pc:grpChg>
        <pc:grpChg chg="mod">
          <ac:chgData name="uermo" userId="45a83561-e1b9-4343-a344-05d35c083fc5" providerId="ADAL" clId="{6C41F733-B975-0A41-9671-1CA5A600FEE8}" dt="2024-12-11T13:14:37.503" v="443"/>
          <ac:grpSpMkLst>
            <pc:docMk/>
            <pc:sldMk cId="3438532631" sldId="912"/>
            <ac:grpSpMk id="50" creationId="{F02FD923-8B3A-62AD-E0A3-9E632C071F04}"/>
          </ac:grpSpMkLst>
        </pc:grpChg>
        <pc:grpChg chg="del">
          <ac:chgData name="uermo" userId="45a83561-e1b9-4343-a344-05d35c083fc5" providerId="ADAL" clId="{6C41F733-B975-0A41-9671-1CA5A600FEE8}" dt="2024-12-11T13:14:31.055" v="442" actId="478"/>
          <ac:grpSpMkLst>
            <pc:docMk/>
            <pc:sldMk cId="3438532631" sldId="912"/>
            <ac:grpSpMk id="60" creationId="{C5F69D87-62EE-A8B9-290F-0D84F90DD716}"/>
          </ac:grpSpMkLst>
        </pc:grpChg>
        <pc:grpChg chg="del">
          <ac:chgData name="uermo" userId="45a83561-e1b9-4343-a344-05d35c083fc5" providerId="ADAL" clId="{6C41F733-B975-0A41-9671-1CA5A600FEE8}" dt="2024-12-11T13:14:31.055" v="442" actId="478"/>
          <ac:grpSpMkLst>
            <pc:docMk/>
            <pc:sldMk cId="3438532631" sldId="912"/>
            <ac:grpSpMk id="96" creationId="{CFD37A6D-2A2C-5021-8DFD-6B8534D90942}"/>
          </ac:grpSpMkLst>
        </pc:grpChg>
      </pc:sldChg>
    </pc:docChg>
  </pc:docChgLst>
  <pc:docChgLst>
    <pc:chgData name="uppys" userId="9cacfd68-f270-418a-9584-69c214d1619d" providerId="ADAL" clId="{030C634B-D829-48B2-A184-820323E3FA2A}"/>
    <pc:docChg chg="undo custSel delSld modSld sldOrd">
      <pc:chgData name="uppys" userId="9cacfd68-f270-418a-9584-69c214d1619d" providerId="ADAL" clId="{030C634B-D829-48B2-A184-820323E3FA2A}" dt="2024-12-11T13:56:41.506" v="1085" actId="729"/>
      <pc:docMkLst>
        <pc:docMk/>
      </pc:docMkLst>
      <pc:sldChg chg="addSp delSp modSp mod">
        <pc:chgData name="uppys" userId="9cacfd68-f270-418a-9584-69c214d1619d" providerId="ADAL" clId="{030C634B-D829-48B2-A184-820323E3FA2A}" dt="2024-12-11T13:30:43.226" v="1083" actId="1076"/>
        <pc:sldMkLst>
          <pc:docMk/>
          <pc:sldMk cId="2504044746" sldId="897"/>
        </pc:sldMkLst>
        <pc:spChg chg="mod">
          <ac:chgData name="uppys" userId="9cacfd68-f270-418a-9584-69c214d1619d" providerId="ADAL" clId="{030C634B-D829-48B2-A184-820323E3FA2A}" dt="2024-12-11T13:18:26.949" v="648" actId="115"/>
          <ac:spMkLst>
            <pc:docMk/>
            <pc:sldMk cId="2504044746" sldId="897"/>
            <ac:spMk id="6" creationId="{9C204F05-A085-AB80-7732-45945C41E5B5}"/>
          </ac:spMkLst>
        </pc:spChg>
        <pc:spChg chg="mod">
          <ac:chgData name="uppys" userId="9cacfd68-f270-418a-9584-69c214d1619d" providerId="ADAL" clId="{030C634B-D829-48B2-A184-820323E3FA2A}" dt="2024-12-11T13:18:36.323" v="649" actId="113"/>
          <ac:spMkLst>
            <pc:docMk/>
            <pc:sldMk cId="2504044746" sldId="897"/>
            <ac:spMk id="22" creationId="{85CE3205-0732-2629-3252-83FD01E9B1C7}"/>
          </ac:spMkLst>
        </pc:spChg>
        <pc:spChg chg="del">
          <ac:chgData name="uppys" userId="9cacfd68-f270-418a-9584-69c214d1619d" providerId="ADAL" clId="{030C634B-D829-48B2-A184-820323E3FA2A}" dt="2024-12-11T13:01:26.250" v="31" actId="478"/>
          <ac:spMkLst>
            <pc:docMk/>
            <pc:sldMk cId="2504044746" sldId="897"/>
            <ac:spMk id="27" creationId="{15617ED8-424E-3333-474A-20903699F6A6}"/>
          </ac:spMkLst>
        </pc:spChg>
        <pc:spChg chg="del">
          <ac:chgData name="uppys" userId="9cacfd68-f270-418a-9584-69c214d1619d" providerId="ADAL" clId="{030C634B-D829-48B2-A184-820323E3FA2A}" dt="2024-12-11T13:08:08.998" v="150" actId="478"/>
          <ac:spMkLst>
            <pc:docMk/>
            <pc:sldMk cId="2504044746" sldId="897"/>
            <ac:spMk id="28" creationId="{5C832D47-9F84-AF5C-2AF2-021012FA8932}"/>
          </ac:spMkLst>
        </pc:spChg>
        <pc:spChg chg="add mod">
          <ac:chgData name="uppys" userId="9cacfd68-f270-418a-9584-69c214d1619d" providerId="ADAL" clId="{030C634B-D829-48B2-A184-820323E3FA2A}" dt="2024-12-11T13:22:48.885" v="867" actId="1076"/>
          <ac:spMkLst>
            <pc:docMk/>
            <pc:sldMk cId="2504044746" sldId="897"/>
            <ac:spMk id="164" creationId="{A739E67D-F5AF-7943-8ACD-8E07067279ED}"/>
          </ac:spMkLst>
        </pc:spChg>
        <pc:spChg chg="add mod">
          <ac:chgData name="uppys" userId="9cacfd68-f270-418a-9584-69c214d1619d" providerId="ADAL" clId="{030C634B-D829-48B2-A184-820323E3FA2A}" dt="2024-12-11T13:21:53.043" v="858" actId="1035"/>
          <ac:spMkLst>
            <pc:docMk/>
            <pc:sldMk cId="2504044746" sldId="897"/>
            <ac:spMk id="165" creationId="{5C5B5C17-7CD2-3790-F9BF-6498F61064D8}"/>
          </ac:spMkLst>
        </pc:spChg>
        <pc:spChg chg="add mod">
          <ac:chgData name="uppys" userId="9cacfd68-f270-418a-9584-69c214d1619d" providerId="ADAL" clId="{030C634B-D829-48B2-A184-820323E3FA2A}" dt="2024-12-11T13:22:19.749" v="862" actId="1076"/>
          <ac:spMkLst>
            <pc:docMk/>
            <pc:sldMk cId="2504044746" sldId="897"/>
            <ac:spMk id="166" creationId="{A2C68434-B61B-FCD1-F387-E563DF1B7F91}"/>
          </ac:spMkLst>
        </pc:spChg>
        <pc:spChg chg="add mod">
          <ac:chgData name="uppys" userId="9cacfd68-f270-418a-9584-69c214d1619d" providerId="ADAL" clId="{030C634B-D829-48B2-A184-820323E3FA2A}" dt="2024-12-11T13:30:36.651" v="1082" actId="1076"/>
          <ac:spMkLst>
            <pc:docMk/>
            <pc:sldMk cId="2504044746" sldId="897"/>
            <ac:spMk id="167" creationId="{98D87C2E-DA3B-4EF4-BA83-9CD1944F4B6D}"/>
          </ac:spMkLst>
        </pc:spChg>
        <pc:spChg chg="add mod">
          <ac:chgData name="uppys" userId="9cacfd68-f270-418a-9584-69c214d1619d" providerId="ADAL" clId="{030C634B-D829-48B2-A184-820323E3FA2A}" dt="2024-12-11T13:30:43.226" v="1083" actId="1076"/>
          <ac:spMkLst>
            <pc:docMk/>
            <pc:sldMk cId="2504044746" sldId="897"/>
            <ac:spMk id="168" creationId="{50FEFD02-4ED7-A06C-1B8D-3DA80DDE766F}"/>
          </ac:spMkLst>
        </pc:spChg>
        <pc:grpChg chg="del mod">
          <ac:chgData name="uppys" userId="9cacfd68-f270-418a-9584-69c214d1619d" providerId="ADAL" clId="{030C634B-D829-48B2-A184-820323E3FA2A}" dt="2024-12-11T13:06:47.650" v="124" actId="478"/>
          <ac:grpSpMkLst>
            <pc:docMk/>
            <pc:sldMk cId="2504044746" sldId="897"/>
            <ac:grpSpMk id="43" creationId="{2E535134-43D1-F06A-C338-BA856EB22AA8}"/>
          </ac:grpSpMkLst>
        </pc:grpChg>
        <pc:grpChg chg="mod">
          <ac:chgData name="uppys" userId="9cacfd68-f270-418a-9584-69c214d1619d" providerId="ADAL" clId="{030C634B-D829-48B2-A184-820323E3FA2A}" dt="2024-12-11T13:10:29.923" v="187"/>
          <ac:grpSpMkLst>
            <pc:docMk/>
            <pc:sldMk cId="2504044746" sldId="897"/>
            <ac:grpSpMk id="96" creationId="{57D5E1FF-DEB7-D227-D6A7-92C219DCA83D}"/>
          </ac:grpSpMkLst>
        </pc:grpChg>
        <pc:grpChg chg="del mod">
          <ac:chgData name="uppys" userId="9cacfd68-f270-418a-9584-69c214d1619d" providerId="ADAL" clId="{030C634B-D829-48B2-A184-820323E3FA2A}" dt="2024-12-11T13:10:47.954" v="194"/>
          <ac:grpSpMkLst>
            <pc:docMk/>
            <pc:sldMk cId="2504044746" sldId="897"/>
            <ac:grpSpMk id="99" creationId="{7149A3C6-C9F0-A964-B1A2-B6F4AB223390}"/>
          </ac:grpSpMkLst>
        </pc:grpChg>
        <pc:grpChg chg="mod">
          <ac:chgData name="uppys" userId="9cacfd68-f270-418a-9584-69c214d1619d" providerId="ADAL" clId="{030C634B-D829-48B2-A184-820323E3FA2A}" dt="2024-12-11T13:13:03.339" v="214" actId="1076"/>
          <ac:grpSpMkLst>
            <pc:docMk/>
            <pc:sldMk cId="2504044746" sldId="897"/>
            <ac:grpSpMk id="102" creationId="{1CC14360-982E-8F3B-3556-596767D29CD1}"/>
          </ac:grpSpMkLst>
        </pc:grpChg>
        <pc:grpChg chg="del mod">
          <ac:chgData name="uppys" userId="9cacfd68-f270-418a-9584-69c214d1619d" providerId="ADAL" clId="{030C634B-D829-48B2-A184-820323E3FA2A}" dt="2024-12-11T13:16:25.237" v="595"/>
          <ac:grpSpMkLst>
            <pc:docMk/>
            <pc:sldMk cId="2504044746" sldId="897"/>
            <ac:grpSpMk id="135" creationId="{E7280BDE-6C34-E551-D673-4F066ED45EB5}"/>
          </ac:grpSpMkLst>
        </pc:grpChg>
        <pc:grpChg chg="del mod">
          <ac:chgData name="uppys" userId="9cacfd68-f270-418a-9584-69c214d1619d" providerId="ADAL" clId="{030C634B-D829-48B2-A184-820323E3FA2A}" dt="2024-12-11T13:16:33.184" v="606"/>
          <ac:grpSpMkLst>
            <pc:docMk/>
            <pc:sldMk cId="2504044746" sldId="897"/>
            <ac:grpSpMk id="138" creationId="{9B79C6B9-3ED9-3939-617D-7E1B4458CCA2}"/>
          </ac:grpSpMkLst>
        </pc:grpChg>
        <pc:grpChg chg="mod">
          <ac:chgData name="uppys" userId="9cacfd68-f270-418a-9584-69c214d1619d" providerId="ADAL" clId="{030C634B-D829-48B2-A184-820323E3FA2A}" dt="2024-12-11T13:16:29.762" v="602"/>
          <ac:grpSpMkLst>
            <pc:docMk/>
            <pc:sldMk cId="2504044746" sldId="897"/>
            <ac:grpSpMk id="145" creationId="{BFA4CE6A-5BF7-AE5B-5E62-E5EA52815B63}"/>
          </ac:grpSpMkLst>
        </pc:grpChg>
        <pc:grpChg chg="del mod">
          <ac:chgData name="uppys" userId="9cacfd68-f270-418a-9584-69c214d1619d" providerId="ADAL" clId="{030C634B-D829-48B2-A184-820323E3FA2A}" dt="2024-12-11T13:16:41.669" v="617"/>
          <ac:grpSpMkLst>
            <pc:docMk/>
            <pc:sldMk cId="2504044746" sldId="897"/>
            <ac:grpSpMk id="148" creationId="{4CF71DEF-0DE3-0037-60AC-CBE514C7F718}"/>
          </ac:grpSpMkLst>
        </pc:grpChg>
        <pc:grpChg chg="mod">
          <ac:chgData name="uppys" userId="9cacfd68-f270-418a-9584-69c214d1619d" providerId="ADAL" clId="{030C634B-D829-48B2-A184-820323E3FA2A}" dt="2024-12-11T13:16:35.872" v="610"/>
          <ac:grpSpMkLst>
            <pc:docMk/>
            <pc:sldMk cId="2504044746" sldId="897"/>
            <ac:grpSpMk id="152" creationId="{FBD634AA-4175-3754-81F4-35035A606145}"/>
          </ac:grpSpMkLst>
        </pc:grpChg>
        <pc:grpChg chg="del mod">
          <ac:chgData name="uppys" userId="9cacfd68-f270-418a-9584-69c214d1619d" providerId="ADAL" clId="{030C634B-D829-48B2-A184-820323E3FA2A}" dt="2024-12-11T13:16:42.589" v="619"/>
          <ac:grpSpMkLst>
            <pc:docMk/>
            <pc:sldMk cId="2504044746" sldId="897"/>
            <ac:grpSpMk id="157" creationId="{77CEF59C-54BE-4831-F738-9A6ACB94D375}"/>
          </ac:grpSpMkLst>
        </pc:grpChg>
        <pc:grpChg chg="del mod">
          <ac:chgData name="uppys" userId="9cacfd68-f270-418a-9584-69c214d1619d" providerId="ADAL" clId="{030C634B-D829-48B2-A184-820323E3FA2A}" dt="2024-12-11T13:16:44.652" v="621"/>
          <ac:grpSpMkLst>
            <pc:docMk/>
            <pc:sldMk cId="2504044746" sldId="897"/>
            <ac:grpSpMk id="159" creationId="{CA0D826F-D57E-75C1-8063-E6B8AABA5ADE}"/>
          </ac:grpSpMkLst>
        </pc:grpChg>
        <pc:grpChg chg="del mod">
          <ac:chgData name="uppys" userId="9cacfd68-f270-418a-9584-69c214d1619d" providerId="ADAL" clId="{030C634B-D829-48B2-A184-820323E3FA2A}" dt="2024-12-11T13:16:46.334" v="623"/>
          <ac:grpSpMkLst>
            <pc:docMk/>
            <pc:sldMk cId="2504044746" sldId="897"/>
            <ac:grpSpMk id="161" creationId="{DCA891E1-C5D0-C2F5-E32B-04FFDC295AA6}"/>
          </ac:grpSpMkLst>
        </pc:grpChg>
        <pc:grpChg chg="mod">
          <ac:chgData name="uppys" userId="9cacfd68-f270-418a-9584-69c214d1619d" providerId="ADAL" clId="{030C634B-D829-48B2-A184-820323E3FA2A}" dt="2024-12-11T13:21:38.832" v="828" actId="1037"/>
          <ac:grpSpMkLst>
            <pc:docMk/>
            <pc:sldMk cId="2504044746" sldId="897"/>
            <ac:grpSpMk id="163" creationId="{709AF47E-950D-1B29-C0B1-9645861ABFBC}"/>
          </ac:grpSpMkLst>
        </pc:grpChg>
        <pc:inkChg chg="add mod">
          <ac:chgData name="uppys" userId="9cacfd68-f270-418a-9584-69c214d1619d" providerId="ADAL" clId="{030C634B-D829-48B2-A184-820323E3FA2A}" dt="2024-12-11T13:21:38.832" v="828" actId="1037"/>
          <ac:inkMkLst>
            <pc:docMk/>
            <pc:sldMk cId="2504044746" sldId="897"/>
            <ac:inkMk id="12" creationId="{AE49A535-9C5B-BE2E-705F-21CC3B519D04}"/>
          </ac:inkMkLst>
        </pc:inkChg>
        <pc:inkChg chg="add mod">
          <ac:chgData name="uppys" userId="9cacfd68-f270-418a-9584-69c214d1619d" providerId="ADAL" clId="{030C634B-D829-48B2-A184-820323E3FA2A}" dt="2024-12-11T13:21:29.275" v="818" actId="1035"/>
          <ac:inkMkLst>
            <pc:docMk/>
            <pc:sldMk cId="2504044746" sldId="897"/>
            <ac:inkMk id="13" creationId="{25280439-8A01-7C60-2518-A320D1DE9B40}"/>
          </ac:inkMkLst>
        </pc:inkChg>
        <pc:inkChg chg="add del">
          <ac:chgData name="uppys" userId="9cacfd68-f270-418a-9584-69c214d1619d" providerId="ADAL" clId="{030C634B-D829-48B2-A184-820323E3FA2A}" dt="2024-12-11T13:02:37.416" v="79" actId="9405"/>
          <ac:inkMkLst>
            <pc:docMk/>
            <pc:sldMk cId="2504044746" sldId="897"/>
            <ac:inkMk id="14" creationId="{59A24BD9-C3C8-45C1-3A18-DF6B3953DBA5}"/>
          </ac:inkMkLst>
        </pc:inkChg>
        <pc:inkChg chg="add mod">
          <ac:chgData name="uppys" userId="9cacfd68-f270-418a-9584-69c214d1619d" providerId="ADAL" clId="{030C634B-D829-48B2-A184-820323E3FA2A}" dt="2024-12-11T13:21:38.832" v="828" actId="1037"/>
          <ac:inkMkLst>
            <pc:docMk/>
            <pc:sldMk cId="2504044746" sldId="897"/>
            <ac:inkMk id="14" creationId="{DE6370AC-BE73-D174-66C3-9E7B451707EE}"/>
          </ac:inkMkLst>
        </pc:inkChg>
        <pc:inkChg chg="add del">
          <ac:chgData name="uppys" userId="9cacfd68-f270-418a-9584-69c214d1619d" providerId="ADAL" clId="{030C634B-D829-48B2-A184-820323E3FA2A}" dt="2024-12-11T13:03:21.680" v="91"/>
          <ac:inkMkLst>
            <pc:docMk/>
            <pc:sldMk cId="2504044746" sldId="897"/>
            <ac:inkMk id="15" creationId="{03087372-3EFC-EE8C-941F-630624355FD2}"/>
          </ac:inkMkLst>
        </pc:inkChg>
        <pc:inkChg chg="add del">
          <ac:chgData name="uppys" userId="9cacfd68-f270-418a-9584-69c214d1619d" providerId="ADAL" clId="{030C634B-D829-48B2-A184-820323E3FA2A}" dt="2024-12-11T13:02:59.683" v="81"/>
          <ac:inkMkLst>
            <pc:docMk/>
            <pc:sldMk cId="2504044746" sldId="897"/>
            <ac:inkMk id="15" creationId="{9E45B9BB-3E0A-1269-D704-3EDCE0C37715}"/>
          </ac:inkMkLst>
        </pc:inkChg>
        <pc:inkChg chg="add mod">
          <ac:chgData name="uppys" userId="9cacfd68-f270-418a-9584-69c214d1619d" providerId="ADAL" clId="{030C634B-D829-48B2-A184-820323E3FA2A}" dt="2024-12-11T13:21:38.832" v="828" actId="1037"/>
          <ac:inkMkLst>
            <pc:docMk/>
            <pc:sldMk cId="2504044746" sldId="897"/>
            <ac:inkMk id="15" creationId="{A9D32F33-03F7-A21C-32BB-C1104F4D989B}"/>
          </ac:inkMkLst>
        </pc:inkChg>
        <pc:inkChg chg="add del">
          <ac:chgData name="uppys" userId="9cacfd68-f270-418a-9584-69c214d1619d" providerId="ADAL" clId="{030C634B-D829-48B2-A184-820323E3FA2A}" dt="2024-12-11T13:03:12.227" v="87"/>
          <ac:inkMkLst>
            <pc:docMk/>
            <pc:sldMk cId="2504044746" sldId="897"/>
            <ac:inkMk id="15" creationId="{D5041AB3-14CC-4C96-D3F5-D937634E5018}"/>
          </ac:inkMkLst>
        </pc:inkChg>
        <pc:inkChg chg="add mod">
          <ac:chgData name="uppys" userId="9cacfd68-f270-418a-9584-69c214d1619d" providerId="ADAL" clId="{030C634B-D829-48B2-A184-820323E3FA2A}" dt="2024-12-11T13:21:38.832" v="828" actId="1037"/>
          <ac:inkMkLst>
            <pc:docMk/>
            <pc:sldMk cId="2504044746" sldId="897"/>
            <ac:inkMk id="16" creationId="{E6F720EB-9D6B-E005-BFE5-8EB4FF5BD8F4}"/>
          </ac:inkMkLst>
        </pc:inkChg>
        <pc:inkChg chg="add mod">
          <ac:chgData name="uppys" userId="9cacfd68-f270-418a-9584-69c214d1619d" providerId="ADAL" clId="{030C634B-D829-48B2-A184-820323E3FA2A}" dt="2024-12-11T13:21:38.832" v="828" actId="1037"/>
          <ac:inkMkLst>
            <pc:docMk/>
            <pc:sldMk cId="2504044746" sldId="897"/>
            <ac:inkMk id="17" creationId="{395D70CF-93AF-5000-35B8-D8F3E9B45CAB}"/>
          </ac:inkMkLst>
        </pc:inkChg>
        <pc:inkChg chg="add mod">
          <ac:chgData name="uppys" userId="9cacfd68-f270-418a-9584-69c214d1619d" providerId="ADAL" clId="{030C634B-D829-48B2-A184-820323E3FA2A}" dt="2024-12-11T13:21:38.832" v="828" actId="1037"/>
          <ac:inkMkLst>
            <pc:docMk/>
            <pc:sldMk cId="2504044746" sldId="897"/>
            <ac:inkMk id="18" creationId="{1560EE5E-26DA-FE5E-3AF6-DB43D2AAF30B}"/>
          </ac:inkMkLst>
        </pc:inkChg>
        <pc:inkChg chg="add mod">
          <ac:chgData name="uppys" userId="9cacfd68-f270-418a-9584-69c214d1619d" providerId="ADAL" clId="{030C634B-D829-48B2-A184-820323E3FA2A}" dt="2024-12-11T13:21:38.832" v="828" actId="1037"/>
          <ac:inkMkLst>
            <pc:docMk/>
            <pc:sldMk cId="2504044746" sldId="897"/>
            <ac:inkMk id="20" creationId="{D0FBF3EE-F779-108A-6B38-8293C5CAD90E}"/>
          </ac:inkMkLst>
        </pc:inkChg>
        <pc:inkChg chg="add mod">
          <ac:chgData name="uppys" userId="9cacfd68-f270-418a-9584-69c214d1619d" providerId="ADAL" clId="{030C634B-D829-48B2-A184-820323E3FA2A}" dt="2024-12-11T13:21:38.832" v="828" actId="1037"/>
          <ac:inkMkLst>
            <pc:docMk/>
            <pc:sldMk cId="2504044746" sldId="897"/>
            <ac:inkMk id="21" creationId="{A3092F20-C85B-5475-4F8F-1BF81CFA0794}"/>
          </ac:inkMkLst>
        </pc:inkChg>
        <pc:inkChg chg="add mod">
          <ac:chgData name="uppys" userId="9cacfd68-f270-418a-9584-69c214d1619d" providerId="ADAL" clId="{030C634B-D829-48B2-A184-820323E3FA2A}" dt="2024-12-11T13:21:38.832" v="828" actId="1037"/>
          <ac:inkMkLst>
            <pc:docMk/>
            <pc:sldMk cId="2504044746" sldId="897"/>
            <ac:inkMk id="27" creationId="{1B40C769-64AB-6455-53B2-B632EDA2F695}"/>
          </ac:inkMkLst>
        </pc:inkChg>
        <pc:inkChg chg="add mod">
          <ac:chgData name="uppys" userId="9cacfd68-f270-418a-9584-69c214d1619d" providerId="ADAL" clId="{030C634B-D829-48B2-A184-820323E3FA2A}" dt="2024-12-11T13:21:38.832" v="828" actId="1037"/>
          <ac:inkMkLst>
            <pc:docMk/>
            <pc:sldMk cId="2504044746" sldId="897"/>
            <ac:inkMk id="29" creationId="{5D54EFB8-2006-06AE-F9B9-9BA6CA5B533F}"/>
          </ac:inkMkLst>
        </pc:inkChg>
        <pc:inkChg chg="add del">
          <ac:chgData name="uppys" userId="9cacfd68-f270-418a-9584-69c214d1619d" providerId="ADAL" clId="{030C634B-D829-48B2-A184-820323E3FA2A}" dt="2024-12-11T13:03:25.864" v="93"/>
          <ac:inkMkLst>
            <pc:docMk/>
            <pc:sldMk cId="2504044746" sldId="897"/>
            <ac:inkMk id="29" creationId="{874C41DC-1496-4D59-5C1C-2ABAB4D20242}"/>
          </ac:inkMkLst>
        </pc:inkChg>
        <pc:inkChg chg="add mod">
          <ac:chgData name="uppys" userId="9cacfd68-f270-418a-9584-69c214d1619d" providerId="ADAL" clId="{030C634B-D829-48B2-A184-820323E3FA2A}" dt="2024-12-11T13:21:38.832" v="828" actId="1037"/>
          <ac:inkMkLst>
            <pc:docMk/>
            <pc:sldMk cId="2504044746" sldId="897"/>
            <ac:inkMk id="30" creationId="{F9D83F2E-7BC6-B757-A52D-F768108C4096}"/>
          </ac:inkMkLst>
        </pc:inkChg>
        <pc:inkChg chg="add mod">
          <ac:chgData name="uppys" userId="9cacfd68-f270-418a-9584-69c214d1619d" providerId="ADAL" clId="{030C634B-D829-48B2-A184-820323E3FA2A}" dt="2024-12-11T13:21:38.832" v="828" actId="1037"/>
          <ac:inkMkLst>
            <pc:docMk/>
            <pc:sldMk cId="2504044746" sldId="897"/>
            <ac:inkMk id="31" creationId="{3E4F18E4-E142-BC37-81F1-6236D57F5BD4}"/>
          </ac:inkMkLst>
        </pc:inkChg>
        <pc:inkChg chg="add mod">
          <ac:chgData name="uppys" userId="9cacfd68-f270-418a-9584-69c214d1619d" providerId="ADAL" clId="{030C634B-D829-48B2-A184-820323E3FA2A}" dt="2024-12-11T13:21:38.832" v="828" actId="1037"/>
          <ac:inkMkLst>
            <pc:docMk/>
            <pc:sldMk cId="2504044746" sldId="897"/>
            <ac:inkMk id="32" creationId="{B073190A-9F33-CE81-43FE-BCD3F38ED2B4}"/>
          </ac:inkMkLst>
        </pc:inkChg>
        <pc:inkChg chg="add del mod">
          <ac:chgData name="uppys" userId="9cacfd68-f270-418a-9584-69c214d1619d" providerId="ADAL" clId="{030C634B-D829-48B2-A184-820323E3FA2A}" dt="2024-12-11T13:21:38.832" v="828" actId="1037"/>
          <ac:inkMkLst>
            <pc:docMk/>
            <pc:sldMk cId="2504044746" sldId="897"/>
            <ac:inkMk id="33" creationId="{1BFA6D3B-8294-A047-6BA7-266D97EBDA51}"/>
          </ac:inkMkLst>
        </pc:inkChg>
        <pc:inkChg chg="add mod">
          <ac:chgData name="uppys" userId="9cacfd68-f270-418a-9584-69c214d1619d" providerId="ADAL" clId="{030C634B-D829-48B2-A184-820323E3FA2A}" dt="2024-12-11T13:03:34.988" v="100"/>
          <ac:inkMkLst>
            <pc:docMk/>
            <pc:sldMk cId="2504044746" sldId="897"/>
            <ac:inkMk id="34" creationId="{D9DE437F-EBE8-96E1-872E-D1985E7CE30E}"/>
          </ac:inkMkLst>
        </pc:inkChg>
        <pc:inkChg chg="add mod">
          <ac:chgData name="uppys" userId="9cacfd68-f270-418a-9584-69c214d1619d" providerId="ADAL" clId="{030C634B-D829-48B2-A184-820323E3FA2A}" dt="2024-12-11T13:21:38.832" v="828" actId="1037"/>
          <ac:inkMkLst>
            <pc:docMk/>
            <pc:sldMk cId="2504044746" sldId="897"/>
            <ac:inkMk id="34" creationId="{DFB6EC5F-1E89-B086-7C61-7D0CE04A6A55}"/>
          </ac:inkMkLst>
        </pc:inkChg>
        <pc:inkChg chg="add del">
          <ac:chgData name="uppys" userId="9cacfd68-f270-418a-9584-69c214d1619d" providerId="ADAL" clId="{030C634B-D829-48B2-A184-820323E3FA2A}" dt="2024-12-11T13:03:36.052" v="102" actId="9405"/>
          <ac:inkMkLst>
            <pc:docMk/>
            <pc:sldMk cId="2504044746" sldId="897"/>
            <ac:inkMk id="35" creationId="{40448C8E-72FF-17FC-9A91-904540A640C5}"/>
          </ac:inkMkLst>
        </pc:inkChg>
        <pc:inkChg chg="add mod">
          <ac:chgData name="uppys" userId="9cacfd68-f270-418a-9584-69c214d1619d" providerId="ADAL" clId="{030C634B-D829-48B2-A184-820323E3FA2A}" dt="2024-12-11T13:21:38.832" v="828" actId="1037"/>
          <ac:inkMkLst>
            <pc:docMk/>
            <pc:sldMk cId="2504044746" sldId="897"/>
            <ac:inkMk id="35" creationId="{D10D711F-C68E-4B9E-1D18-9E0ACA8E6824}"/>
          </ac:inkMkLst>
        </pc:inkChg>
        <pc:inkChg chg="add mod">
          <ac:chgData name="uppys" userId="9cacfd68-f270-418a-9584-69c214d1619d" providerId="ADAL" clId="{030C634B-D829-48B2-A184-820323E3FA2A}" dt="2024-12-11T13:21:38.832" v="828" actId="1037"/>
          <ac:inkMkLst>
            <pc:docMk/>
            <pc:sldMk cId="2504044746" sldId="897"/>
            <ac:inkMk id="36" creationId="{F54A1072-9973-B8FD-666C-A86DCFC32437}"/>
          </ac:inkMkLst>
        </pc:inkChg>
        <pc:inkChg chg="add mod">
          <ac:chgData name="uppys" userId="9cacfd68-f270-418a-9584-69c214d1619d" providerId="ADAL" clId="{030C634B-D829-48B2-A184-820323E3FA2A}" dt="2024-12-11T13:21:38.832" v="828" actId="1037"/>
          <ac:inkMkLst>
            <pc:docMk/>
            <pc:sldMk cId="2504044746" sldId="897"/>
            <ac:inkMk id="37" creationId="{F4E0189C-73B4-3875-92E4-72BF3301CC29}"/>
          </ac:inkMkLst>
        </pc:inkChg>
        <pc:inkChg chg="add mod">
          <ac:chgData name="uppys" userId="9cacfd68-f270-418a-9584-69c214d1619d" providerId="ADAL" clId="{030C634B-D829-48B2-A184-820323E3FA2A}" dt="2024-12-11T13:21:38.832" v="828" actId="1037"/>
          <ac:inkMkLst>
            <pc:docMk/>
            <pc:sldMk cId="2504044746" sldId="897"/>
            <ac:inkMk id="38" creationId="{3CB35B58-3752-1337-49C6-7A08FC587661}"/>
          </ac:inkMkLst>
        </pc:inkChg>
        <pc:inkChg chg="add mod">
          <ac:chgData name="uppys" userId="9cacfd68-f270-418a-9584-69c214d1619d" providerId="ADAL" clId="{030C634B-D829-48B2-A184-820323E3FA2A}" dt="2024-12-11T13:21:38.832" v="828" actId="1037"/>
          <ac:inkMkLst>
            <pc:docMk/>
            <pc:sldMk cId="2504044746" sldId="897"/>
            <ac:inkMk id="39" creationId="{02A5C370-C086-7EE4-FEE9-E98D1458ED0E}"/>
          </ac:inkMkLst>
        </pc:inkChg>
        <pc:inkChg chg="add del">
          <ac:chgData name="uppys" userId="9cacfd68-f270-418a-9584-69c214d1619d" providerId="ADAL" clId="{030C634B-D829-48B2-A184-820323E3FA2A}" dt="2024-12-11T13:05:19.032" v="113"/>
          <ac:inkMkLst>
            <pc:docMk/>
            <pc:sldMk cId="2504044746" sldId="897"/>
            <ac:inkMk id="40" creationId="{8EEB6E48-D8A3-5E60-2A6A-7C0222BC074A}"/>
          </ac:inkMkLst>
        </pc:inkChg>
        <pc:inkChg chg="add mod">
          <ac:chgData name="uppys" userId="9cacfd68-f270-418a-9584-69c214d1619d" providerId="ADAL" clId="{030C634B-D829-48B2-A184-820323E3FA2A}" dt="2024-12-11T13:05:52.953" v="117"/>
          <ac:inkMkLst>
            <pc:docMk/>
            <pc:sldMk cId="2504044746" sldId="897"/>
            <ac:inkMk id="40" creationId="{9E29BD64-66AF-597E-FEB4-2D13D3732061}"/>
          </ac:inkMkLst>
        </pc:inkChg>
        <pc:inkChg chg="add mod">
          <ac:chgData name="uppys" userId="9cacfd68-f270-418a-9584-69c214d1619d" providerId="ADAL" clId="{030C634B-D829-48B2-A184-820323E3FA2A}" dt="2024-12-11T13:21:29.275" v="818" actId="1035"/>
          <ac:inkMkLst>
            <pc:docMk/>
            <pc:sldMk cId="2504044746" sldId="897"/>
            <ac:inkMk id="41" creationId="{DDC2DFFC-B324-EE40-9622-B8D86E50E311}"/>
          </ac:inkMkLst>
        </pc:inkChg>
        <pc:inkChg chg="add mod">
          <ac:chgData name="uppys" userId="9cacfd68-f270-418a-9584-69c214d1619d" providerId="ADAL" clId="{030C634B-D829-48B2-A184-820323E3FA2A}" dt="2024-12-11T13:05:52.953" v="117"/>
          <ac:inkMkLst>
            <pc:docMk/>
            <pc:sldMk cId="2504044746" sldId="897"/>
            <ac:inkMk id="42" creationId="{769E7BAC-E285-D82D-15DC-E870CF2404B6}"/>
          </ac:inkMkLst>
        </pc:inkChg>
        <pc:inkChg chg="add del">
          <ac:chgData name="uppys" userId="9cacfd68-f270-418a-9584-69c214d1619d" providerId="ADAL" clId="{030C634B-D829-48B2-A184-820323E3FA2A}" dt="2024-12-11T13:06:09.905" v="120"/>
          <ac:inkMkLst>
            <pc:docMk/>
            <pc:sldMk cId="2504044746" sldId="897"/>
            <ac:inkMk id="44" creationId="{C9356A4F-F6C4-FF2B-095E-666AF2EA3629}"/>
          </ac:inkMkLst>
        </pc:inkChg>
        <pc:inkChg chg="add del">
          <ac:chgData name="uppys" userId="9cacfd68-f270-418a-9584-69c214d1619d" providerId="ADAL" clId="{030C634B-D829-48B2-A184-820323E3FA2A}" dt="2024-12-11T13:06:49.577" v="125" actId="478"/>
          <ac:inkMkLst>
            <pc:docMk/>
            <pc:sldMk cId="2504044746" sldId="897"/>
            <ac:inkMk id="45" creationId="{A0CD536B-F568-9427-AF2A-AA1640F798A8}"/>
          </ac:inkMkLst>
        </pc:inkChg>
        <pc:inkChg chg="add del mod">
          <ac:chgData name="uppys" userId="9cacfd68-f270-418a-9584-69c214d1619d" providerId="ADAL" clId="{030C634B-D829-48B2-A184-820323E3FA2A}" dt="2024-12-11T13:08:58.251" v="172"/>
          <ac:inkMkLst>
            <pc:docMk/>
            <pc:sldMk cId="2504044746" sldId="897"/>
            <ac:inkMk id="56" creationId="{FBDD2E83-9E72-90E2-48D5-C13EEE5CC221}"/>
          </ac:inkMkLst>
        </pc:inkChg>
        <pc:inkChg chg="add del mod">
          <ac:chgData name="uppys" userId="9cacfd68-f270-418a-9584-69c214d1619d" providerId="ADAL" clId="{030C634B-D829-48B2-A184-820323E3FA2A}" dt="2024-12-11T13:12:10.282" v="205" actId="478"/>
          <ac:inkMkLst>
            <pc:docMk/>
            <pc:sldMk cId="2504044746" sldId="897"/>
            <ac:inkMk id="59" creationId="{31C1FC74-ECD9-84AD-B7AE-5EB77D81263F}"/>
          </ac:inkMkLst>
        </pc:inkChg>
        <pc:inkChg chg="add del mod">
          <ac:chgData name="uppys" userId="9cacfd68-f270-418a-9584-69c214d1619d" providerId="ADAL" clId="{030C634B-D829-48B2-A184-820323E3FA2A}" dt="2024-12-11T13:08:41.252" v="168"/>
          <ac:inkMkLst>
            <pc:docMk/>
            <pc:sldMk cId="2504044746" sldId="897"/>
            <ac:inkMk id="60" creationId="{DAC901FD-35F7-93EE-415A-55D90A75A743}"/>
          </ac:inkMkLst>
        </pc:inkChg>
        <pc:inkChg chg="add del mod">
          <ac:chgData name="uppys" userId="9cacfd68-f270-418a-9584-69c214d1619d" providerId="ADAL" clId="{030C634B-D829-48B2-A184-820323E3FA2A}" dt="2024-12-11T13:08:41.254" v="171"/>
          <ac:inkMkLst>
            <pc:docMk/>
            <pc:sldMk cId="2504044746" sldId="897"/>
            <ac:inkMk id="61" creationId="{55F6B5E8-E1BC-60EB-5B9D-42C856DD423B}"/>
          </ac:inkMkLst>
        </pc:inkChg>
        <pc:inkChg chg="add del mod">
          <ac:chgData name="uppys" userId="9cacfd68-f270-418a-9584-69c214d1619d" providerId="ADAL" clId="{030C634B-D829-48B2-A184-820323E3FA2A}" dt="2024-12-11T13:08:41.251" v="166"/>
          <ac:inkMkLst>
            <pc:docMk/>
            <pc:sldMk cId="2504044746" sldId="897"/>
            <ac:inkMk id="62" creationId="{8DE62F26-1BBD-BD69-80A8-26863FF4CBDD}"/>
          </ac:inkMkLst>
        </pc:inkChg>
        <pc:inkChg chg="add del mod">
          <ac:chgData name="uppys" userId="9cacfd68-f270-418a-9584-69c214d1619d" providerId="ADAL" clId="{030C634B-D829-48B2-A184-820323E3FA2A}" dt="2024-12-11T13:08:41.245" v="158"/>
          <ac:inkMkLst>
            <pc:docMk/>
            <pc:sldMk cId="2504044746" sldId="897"/>
            <ac:inkMk id="63" creationId="{E7B90AAC-CEBD-F041-6683-AD05EE51035D}"/>
          </ac:inkMkLst>
        </pc:inkChg>
        <pc:inkChg chg="add del mod">
          <ac:chgData name="uppys" userId="9cacfd68-f270-418a-9584-69c214d1619d" providerId="ADAL" clId="{030C634B-D829-48B2-A184-820323E3FA2A}" dt="2024-12-11T13:08:41.249" v="162"/>
          <ac:inkMkLst>
            <pc:docMk/>
            <pc:sldMk cId="2504044746" sldId="897"/>
            <ac:inkMk id="64" creationId="{4593907F-4F07-7A99-DEC0-78AD23891DA3}"/>
          </ac:inkMkLst>
        </pc:inkChg>
        <pc:inkChg chg="add del mod">
          <ac:chgData name="uppys" userId="9cacfd68-f270-418a-9584-69c214d1619d" providerId="ADAL" clId="{030C634B-D829-48B2-A184-820323E3FA2A}" dt="2024-12-11T13:08:41.254" v="170"/>
          <ac:inkMkLst>
            <pc:docMk/>
            <pc:sldMk cId="2504044746" sldId="897"/>
            <ac:inkMk id="65" creationId="{246EDFD3-3E3D-6747-8C35-955C29F8EE93}"/>
          </ac:inkMkLst>
        </pc:inkChg>
        <pc:inkChg chg="add del mod">
          <ac:chgData name="uppys" userId="9cacfd68-f270-418a-9584-69c214d1619d" providerId="ADAL" clId="{030C634B-D829-48B2-A184-820323E3FA2A}" dt="2024-12-11T13:08:41.250" v="163"/>
          <ac:inkMkLst>
            <pc:docMk/>
            <pc:sldMk cId="2504044746" sldId="897"/>
            <ac:inkMk id="66" creationId="{1228F2AF-1D65-3E2D-013F-6CC654EC73CE}"/>
          </ac:inkMkLst>
        </pc:inkChg>
        <pc:inkChg chg="add del mod">
          <ac:chgData name="uppys" userId="9cacfd68-f270-418a-9584-69c214d1619d" providerId="ADAL" clId="{030C634B-D829-48B2-A184-820323E3FA2A}" dt="2024-12-11T13:08:41.246" v="159"/>
          <ac:inkMkLst>
            <pc:docMk/>
            <pc:sldMk cId="2504044746" sldId="897"/>
            <ac:inkMk id="67" creationId="{2F799BA1-E39E-08C2-2238-68040D69BDAE}"/>
          </ac:inkMkLst>
        </pc:inkChg>
        <pc:inkChg chg="add del mod">
          <ac:chgData name="uppys" userId="9cacfd68-f270-418a-9584-69c214d1619d" providerId="ADAL" clId="{030C634B-D829-48B2-A184-820323E3FA2A}" dt="2024-12-11T13:08:41.249" v="161"/>
          <ac:inkMkLst>
            <pc:docMk/>
            <pc:sldMk cId="2504044746" sldId="897"/>
            <ac:inkMk id="68" creationId="{AD2FE594-24E1-72AA-51F7-3BE707AFADE1}"/>
          </ac:inkMkLst>
        </pc:inkChg>
        <pc:inkChg chg="add del mod">
          <ac:chgData name="uppys" userId="9cacfd68-f270-418a-9584-69c214d1619d" providerId="ADAL" clId="{030C634B-D829-48B2-A184-820323E3FA2A}" dt="2024-12-11T13:08:41.252" v="167"/>
          <ac:inkMkLst>
            <pc:docMk/>
            <pc:sldMk cId="2504044746" sldId="897"/>
            <ac:inkMk id="69" creationId="{2C258F91-007C-7F84-F42D-973D14A77EA6}"/>
          </ac:inkMkLst>
        </pc:inkChg>
        <pc:inkChg chg="add del mod">
          <ac:chgData name="uppys" userId="9cacfd68-f270-418a-9584-69c214d1619d" providerId="ADAL" clId="{030C634B-D829-48B2-A184-820323E3FA2A}" dt="2024-12-11T13:08:41.250" v="164"/>
          <ac:inkMkLst>
            <pc:docMk/>
            <pc:sldMk cId="2504044746" sldId="897"/>
            <ac:inkMk id="70" creationId="{3557D339-7C81-5E8B-4AA8-7E1DF72BE359}"/>
          </ac:inkMkLst>
        </pc:inkChg>
        <pc:inkChg chg="add del mod">
          <ac:chgData name="uppys" userId="9cacfd68-f270-418a-9584-69c214d1619d" providerId="ADAL" clId="{030C634B-D829-48B2-A184-820323E3FA2A}" dt="2024-12-11T13:08:41.241" v="156"/>
          <ac:inkMkLst>
            <pc:docMk/>
            <pc:sldMk cId="2504044746" sldId="897"/>
            <ac:inkMk id="71" creationId="{286F524F-F876-6663-C8A1-9AD0CE541AB2}"/>
          </ac:inkMkLst>
        </pc:inkChg>
        <pc:inkChg chg="add del mod">
          <ac:chgData name="uppys" userId="9cacfd68-f270-418a-9584-69c214d1619d" providerId="ADAL" clId="{030C634B-D829-48B2-A184-820323E3FA2A}" dt="2024-12-11T13:08:35.706" v="154"/>
          <ac:inkMkLst>
            <pc:docMk/>
            <pc:sldMk cId="2504044746" sldId="897"/>
            <ac:inkMk id="72" creationId="{23F3CCFD-D379-1BB0-F8E4-A66C0254DF3A}"/>
          </ac:inkMkLst>
        </pc:inkChg>
        <pc:inkChg chg="add del mod">
          <ac:chgData name="uppys" userId="9cacfd68-f270-418a-9584-69c214d1619d" providerId="ADAL" clId="{030C634B-D829-48B2-A184-820323E3FA2A}" dt="2024-12-11T13:08:35.708" v="155"/>
          <ac:inkMkLst>
            <pc:docMk/>
            <pc:sldMk cId="2504044746" sldId="897"/>
            <ac:inkMk id="73" creationId="{E3E01846-4EB6-3D5F-2A55-1AF72F771612}"/>
          </ac:inkMkLst>
        </pc:inkChg>
        <pc:inkChg chg="add del mod">
          <ac:chgData name="uppys" userId="9cacfd68-f270-418a-9584-69c214d1619d" providerId="ADAL" clId="{030C634B-D829-48B2-A184-820323E3FA2A}" dt="2024-12-11T13:08:35.704" v="153"/>
          <ac:inkMkLst>
            <pc:docMk/>
            <pc:sldMk cId="2504044746" sldId="897"/>
            <ac:inkMk id="74" creationId="{E117BE3F-25CD-7EE0-BD1F-B01FC542D31B}"/>
          </ac:inkMkLst>
        </pc:inkChg>
        <pc:inkChg chg="add del mod">
          <ac:chgData name="uppys" userId="9cacfd68-f270-418a-9584-69c214d1619d" providerId="ADAL" clId="{030C634B-D829-48B2-A184-820323E3FA2A}" dt="2024-12-11T13:08:41.247" v="160"/>
          <ac:inkMkLst>
            <pc:docMk/>
            <pc:sldMk cId="2504044746" sldId="897"/>
            <ac:inkMk id="75" creationId="{A3C77D26-272E-E4BF-B3A6-4D181323F243}"/>
          </ac:inkMkLst>
        </pc:inkChg>
        <pc:inkChg chg="add del mod">
          <ac:chgData name="uppys" userId="9cacfd68-f270-418a-9584-69c214d1619d" providerId="ADAL" clId="{030C634B-D829-48B2-A184-820323E3FA2A}" dt="2024-12-11T13:08:41.244" v="157"/>
          <ac:inkMkLst>
            <pc:docMk/>
            <pc:sldMk cId="2504044746" sldId="897"/>
            <ac:inkMk id="76" creationId="{E024AFF9-A74A-95C2-4905-6E3899C3E410}"/>
          </ac:inkMkLst>
        </pc:inkChg>
        <pc:inkChg chg="add del mod">
          <ac:chgData name="uppys" userId="9cacfd68-f270-418a-9584-69c214d1619d" providerId="ADAL" clId="{030C634B-D829-48B2-A184-820323E3FA2A}" dt="2024-12-11T13:08:41.253" v="169"/>
          <ac:inkMkLst>
            <pc:docMk/>
            <pc:sldMk cId="2504044746" sldId="897"/>
            <ac:inkMk id="77" creationId="{BE01BF4A-EC34-20A9-9BC4-0B6A1EFE23C1}"/>
          </ac:inkMkLst>
        </pc:inkChg>
        <pc:inkChg chg="add del mod">
          <ac:chgData name="uppys" userId="9cacfd68-f270-418a-9584-69c214d1619d" providerId="ADAL" clId="{030C634B-D829-48B2-A184-820323E3FA2A}" dt="2024-12-11T13:08:41.251" v="165"/>
          <ac:inkMkLst>
            <pc:docMk/>
            <pc:sldMk cId="2504044746" sldId="897"/>
            <ac:inkMk id="78" creationId="{938C920A-8460-237E-A1DC-BBBE0DCDDBCC}"/>
          </ac:inkMkLst>
        </pc:inkChg>
        <pc:inkChg chg="add del mod">
          <ac:chgData name="uppys" userId="9cacfd68-f270-418a-9584-69c214d1619d" providerId="ADAL" clId="{030C634B-D829-48B2-A184-820323E3FA2A}" dt="2024-12-11T13:12:09.209" v="204" actId="478"/>
          <ac:inkMkLst>
            <pc:docMk/>
            <pc:sldMk cId="2504044746" sldId="897"/>
            <ac:inkMk id="79" creationId="{451AC503-761C-A75A-99BD-44D3CC81673B}"/>
          </ac:inkMkLst>
        </pc:inkChg>
        <pc:inkChg chg="add mod">
          <ac:chgData name="uppys" userId="9cacfd68-f270-418a-9584-69c214d1619d" providerId="ADAL" clId="{030C634B-D829-48B2-A184-820323E3FA2A}" dt="2024-12-11T13:13:03.339" v="214" actId="1076"/>
          <ac:inkMkLst>
            <pc:docMk/>
            <pc:sldMk cId="2504044746" sldId="897"/>
            <ac:inkMk id="84" creationId="{A7024643-A626-D4DD-8F04-DA8DC46CDA16}"/>
          </ac:inkMkLst>
        </pc:inkChg>
        <pc:inkChg chg="add mod">
          <ac:chgData name="uppys" userId="9cacfd68-f270-418a-9584-69c214d1619d" providerId="ADAL" clId="{030C634B-D829-48B2-A184-820323E3FA2A}" dt="2024-12-11T13:21:53.043" v="858" actId="1035"/>
          <ac:inkMkLst>
            <pc:docMk/>
            <pc:sldMk cId="2504044746" sldId="897"/>
            <ac:inkMk id="85" creationId="{921EA5A7-07E7-73E1-E6AD-051B7002876D}"/>
          </ac:inkMkLst>
        </pc:inkChg>
        <pc:inkChg chg="add del mod">
          <ac:chgData name="uppys" userId="9cacfd68-f270-418a-9584-69c214d1619d" providerId="ADAL" clId="{030C634B-D829-48B2-A184-820323E3FA2A}" dt="2024-12-11T13:22:02.574" v="860" actId="478"/>
          <ac:inkMkLst>
            <pc:docMk/>
            <pc:sldMk cId="2504044746" sldId="897"/>
            <ac:inkMk id="86" creationId="{78F2EC70-804E-6AA3-275A-2F48A840EA9E}"/>
          </ac:inkMkLst>
        </pc:inkChg>
        <pc:inkChg chg="add del">
          <ac:chgData name="uppys" userId="9cacfd68-f270-418a-9584-69c214d1619d" providerId="ADAL" clId="{030C634B-D829-48B2-A184-820323E3FA2A}" dt="2024-12-11T13:10:00.989" v="178" actId="9405"/>
          <ac:inkMkLst>
            <pc:docMk/>
            <pc:sldMk cId="2504044746" sldId="897"/>
            <ac:inkMk id="87" creationId="{9ED28C32-9BFD-6847-08F4-AC0F13210CBB}"/>
          </ac:inkMkLst>
        </pc:inkChg>
        <pc:inkChg chg="add mod">
          <ac:chgData name="uppys" userId="9cacfd68-f270-418a-9584-69c214d1619d" providerId="ADAL" clId="{030C634B-D829-48B2-A184-820323E3FA2A}" dt="2024-12-11T13:13:03.339" v="214" actId="1076"/>
          <ac:inkMkLst>
            <pc:docMk/>
            <pc:sldMk cId="2504044746" sldId="897"/>
            <ac:inkMk id="88" creationId="{B777F136-59AE-E53F-9347-963DEF95156E}"/>
          </ac:inkMkLst>
        </pc:inkChg>
        <pc:inkChg chg="add mod">
          <ac:chgData name="uppys" userId="9cacfd68-f270-418a-9584-69c214d1619d" providerId="ADAL" clId="{030C634B-D829-48B2-A184-820323E3FA2A}" dt="2024-12-11T13:13:03.339" v="214" actId="1076"/>
          <ac:inkMkLst>
            <pc:docMk/>
            <pc:sldMk cId="2504044746" sldId="897"/>
            <ac:inkMk id="89" creationId="{11AA8E5F-17B5-A920-075D-70CBDC4CCE7C}"/>
          </ac:inkMkLst>
        </pc:inkChg>
        <pc:inkChg chg="add mod">
          <ac:chgData name="uppys" userId="9cacfd68-f270-418a-9584-69c214d1619d" providerId="ADAL" clId="{030C634B-D829-48B2-A184-820323E3FA2A}" dt="2024-12-11T13:21:53.043" v="858" actId="1035"/>
          <ac:inkMkLst>
            <pc:docMk/>
            <pc:sldMk cId="2504044746" sldId="897"/>
            <ac:inkMk id="90" creationId="{1B746F5F-50C5-B84F-E666-1F4C43440165}"/>
          </ac:inkMkLst>
        </pc:inkChg>
        <pc:inkChg chg="add mod">
          <ac:chgData name="uppys" userId="9cacfd68-f270-418a-9584-69c214d1619d" providerId="ADAL" clId="{030C634B-D829-48B2-A184-820323E3FA2A}" dt="2024-12-11T13:10:47.954" v="194"/>
          <ac:inkMkLst>
            <pc:docMk/>
            <pc:sldMk cId="2504044746" sldId="897"/>
            <ac:inkMk id="91" creationId="{128F1B79-5104-3A13-FCED-405CA6808999}"/>
          </ac:inkMkLst>
        </pc:inkChg>
        <pc:inkChg chg="add mod">
          <ac:chgData name="uppys" userId="9cacfd68-f270-418a-9584-69c214d1619d" providerId="ADAL" clId="{030C634B-D829-48B2-A184-820323E3FA2A}" dt="2024-12-11T13:10:47.954" v="194"/>
          <ac:inkMkLst>
            <pc:docMk/>
            <pc:sldMk cId="2504044746" sldId="897"/>
            <ac:inkMk id="92" creationId="{A289191B-3207-A48B-175B-E5C2425FE197}"/>
          </ac:inkMkLst>
        </pc:inkChg>
        <pc:inkChg chg="add mod">
          <ac:chgData name="uppys" userId="9cacfd68-f270-418a-9584-69c214d1619d" providerId="ADAL" clId="{030C634B-D829-48B2-A184-820323E3FA2A}" dt="2024-12-11T13:10:47.954" v="194"/>
          <ac:inkMkLst>
            <pc:docMk/>
            <pc:sldMk cId="2504044746" sldId="897"/>
            <ac:inkMk id="93" creationId="{465A4EAA-7603-FCEB-92AF-642160A8F855}"/>
          </ac:inkMkLst>
        </pc:inkChg>
        <pc:inkChg chg="add mod">
          <ac:chgData name="uppys" userId="9cacfd68-f270-418a-9584-69c214d1619d" providerId="ADAL" clId="{030C634B-D829-48B2-A184-820323E3FA2A}" dt="2024-12-11T13:10:47.954" v="194"/>
          <ac:inkMkLst>
            <pc:docMk/>
            <pc:sldMk cId="2504044746" sldId="897"/>
            <ac:inkMk id="94" creationId="{75EA24A6-1D8B-3F88-BD2E-8CE0B0D6D8BA}"/>
          </ac:inkMkLst>
        </pc:inkChg>
        <pc:inkChg chg="add del mod">
          <ac:chgData name="uppys" userId="9cacfd68-f270-418a-9584-69c214d1619d" providerId="ADAL" clId="{030C634B-D829-48B2-A184-820323E3FA2A}" dt="2024-12-11T13:10:31.284" v="188" actId="9405"/>
          <ac:inkMkLst>
            <pc:docMk/>
            <pc:sldMk cId="2504044746" sldId="897"/>
            <ac:inkMk id="95" creationId="{1A3D6274-23AF-E2B4-BE42-2DB227552325}"/>
          </ac:inkMkLst>
        </pc:inkChg>
        <pc:inkChg chg="add mod">
          <ac:chgData name="uppys" userId="9cacfd68-f270-418a-9584-69c214d1619d" providerId="ADAL" clId="{030C634B-D829-48B2-A184-820323E3FA2A}" dt="2024-12-11T13:10:47.954" v="194"/>
          <ac:inkMkLst>
            <pc:docMk/>
            <pc:sldMk cId="2504044746" sldId="897"/>
            <ac:inkMk id="97" creationId="{F8A75AB3-2C4C-4C97-3598-8DBAD4A415B0}"/>
          </ac:inkMkLst>
        </pc:inkChg>
        <pc:inkChg chg="add mod">
          <ac:chgData name="uppys" userId="9cacfd68-f270-418a-9584-69c214d1619d" providerId="ADAL" clId="{030C634B-D829-48B2-A184-820323E3FA2A}" dt="2024-12-11T13:10:47.954" v="194"/>
          <ac:inkMkLst>
            <pc:docMk/>
            <pc:sldMk cId="2504044746" sldId="897"/>
            <ac:inkMk id="98" creationId="{0039248F-B126-7053-3BEF-B66F63736A0E}"/>
          </ac:inkMkLst>
        </pc:inkChg>
        <pc:inkChg chg="add mod">
          <ac:chgData name="uppys" userId="9cacfd68-f270-418a-9584-69c214d1619d" providerId="ADAL" clId="{030C634B-D829-48B2-A184-820323E3FA2A}" dt="2024-12-11T13:10:47.954" v="194"/>
          <ac:inkMkLst>
            <pc:docMk/>
            <pc:sldMk cId="2504044746" sldId="897"/>
            <ac:inkMk id="100" creationId="{4FA26DB9-602B-975D-DF7E-04BD74D0DAD3}"/>
          </ac:inkMkLst>
        </pc:inkChg>
        <pc:inkChg chg="add mod">
          <ac:chgData name="uppys" userId="9cacfd68-f270-418a-9584-69c214d1619d" providerId="ADAL" clId="{030C634B-D829-48B2-A184-820323E3FA2A}" dt="2024-12-11T13:10:47.954" v="194"/>
          <ac:inkMkLst>
            <pc:docMk/>
            <pc:sldMk cId="2504044746" sldId="897"/>
            <ac:inkMk id="101" creationId="{D54AEE75-C379-CD20-AC8D-DCEF57C2D2E9}"/>
          </ac:inkMkLst>
        </pc:inkChg>
        <pc:inkChg chg="add del">
          <ac:chgData name="uppys" userId="9cacfd68-f270-418a-9584-69c214d1619d" providerId="ADAL" clId="{030C634B-D829-48B2-A184-820323E3FA2A}" dt="2024-12-11T13:10:57.952" v="197"/>
          <ac:inkMkLst>
            <pc:docMk/>
            <pc:sldMk cId="2504044746" sldId="897"/>
            <ac:inkMk id="103" creationId="{3E1777A6-7AAD-BFC3-9BDE-F8C8EA982640}"/>
          </ac:inkMkLst>
        </pc:inkChg>
        <pc:inkChg chg="add del">
          <ac:chgData name="uppys" userId="9cacfd68-f270-418a-9584-69c214d1619d" providerId="ADAL" clId="{030C634B-D829-48B2-A184-820323E3FA2A}" dt="2024-12-11T13:11:00.117" v="198"/>
          <ac:inkMkLst>
            <pc:docMk/>
            <pc:sldMk cId="2504044746" sldId="897"/>
            <ac:inkMk id="104" creationId="{DBCB51DB-8D2D-BA4C-F063-7CCD43E4138B}"/>
          </ac:inkMkLst>
        </pc:inkChg>
        <pc:inkChg chg="add del">
          <ac:chgData name="uppys" userId="9cacfd68-f270-418a-9584-69c214d1619d" providerId="ADAL" clId="{030C634B-D829-48B2-A184-820323E3FA2A}" dt="2024-12-11T13:11:08.521" v="200" actId="9405"/>
          <ac:inkMkLst>
            <pc:docMk/>
            <pc:sldMk cId="2504044746" sldId="897"/>
            <ac:inkMk id="105" creationId="{3576F64B-5E4D-9709-40F1-B9DF3A96B9A8}"/>
          </ac:inkMkLst>
        </pc:inkChg>
        <pc:inkChg chg="add mod">
          <ac:chgData name="uppys" userId="9cacfd68-f270-418a-9584-69c214d1619d" providerId="ADAL" clId="{030C634B-D829-48B2-A184-820323E3FA2A}" dt="2024-12-11T13:13:03.339" v="214" actId="1076"/>
          <ac:inkMkLst>
            <pc:docMk/>
            <pc:sldMk cId="2504044746" sldId="897"/>
            <ac:inkMk id="106" creationId="{8551BE6F-707B-7B37-D7F2-A18EB0BE257B}"/>
          </ac:inkMkLst>
        </pc:inkChg>
        <pc:inkChg chg="add mod">
          <ac:chgData name="uppys" userId="9cacfd68-f270-418a-9584-69c214d1619d" providerId="ADAL" clId="{030C634B-D829-48B2-A184-820323E3FA2A}" dt="2024-12-11T13:12:43.233" v="210" actId="1076"/>
          <ac:inkMkLst>
            <pc:docMk/>
            <pc:sldMk cId="2504044746" sldId="897"/>
            <ac:inkMk id="107" creationId="{864BA87D-4D34-490B-E416-E51A9351048B}"/>
          </ac:inkMkLst>
        </pc:inkChg>
        <pc:inkChg chg="add mod">
          <ac:chgData name="uppys" userId="9cacfd68-f270-418a-9584-69c214d1619d" providerId="ADAL" clId="{030C634B-D829-48B2-A184-820323E3FA2A}" dt="2024-12-11T13:12:43.233" v="210" actId="1076"/>
          <ac:inkMkLst>
            <pc:docMk/>
            <pc:sldMk cId="2504044746" sldId="897"/>
            <ac:inkMk id="108" creationId="{C5F7E375-5405-BC92-7024-39A21BC6C1D7}"/>
          </ac:inkMkLst>
        </pc:inkChg>
        <pc:inkChg chg="add mod">
          <ac:chgData name="uppys" userId="9cacfd68-f270-418a-9584-69c214d1619d" providerId="ADAL" clId="{030C634B-D829-48B2-A184-820323E3FA2A}" dt="2024-12-11T13:21:38.832" v="828" actId="1037"/>
          <ac:inkMkLst>
            <pc:docMk/>
            <pc:sldMk cId="2504044746" sldId="897"/>
            <ac:inkMk id="109" creationId="{DEEEB731-1170-C821-DE19-6E48A1239C74}"/>
          </ac:inkMkLst>
        </pc:inkChg>
        <pc:inkChg chg="add del mod">
          <ac:chgData name="uppys" userId="9cacfd68-f270-418a-9584-69c214d1619d" providerId="ADAL" clId="{030C634B-D829-48B2-A184-820323E3FA2A}" dt="2024-12-11T13:13:17.142" v="216" actId="478"/>
          <ac:inkMkLst>
            <pc:docMk/>
            <pc:sldMk cId="2504044746" sldId="897"/>
            <ac:inkMk id="110" creationId="{8AA18CB8-DE93-7202-3F8F-425EECE04FC5}"/>
          </ac:inkMkLst>
        </pc:inkChg>
        <pc:inkChg chg="add del">
          <ac:chgData name="uppys" userId="9cacfd68-f270-418a-9584-69c214d1619d" providerId="ADAL" clId="{030C634B-D829-48B2-A184-820323E3FA2A}" dt="2024-12-11T13:13:33.892" v="218" actId="9405"/>
          <ac:inkMkLst>
            <pc:docMk/>
            <pc:sldMk cId="2504044746" sldId="897"/>
            <ac:inkMk id="111" creationId="{E0B4CFBA-C909-23C4-63F4-D4023BFF8C90}"/>
          </ac:inkMkLst>
        </pc:inkChg>
        <pc:inkChg chg="add del">
          <ac:chgData name="uppys" userId="9cacfd68-f270-418a-9584-69c214d1619d" providerId="ADAL" clId="{030C634B-D829-48B2-A184-820323E3FA2A}" dt="2024-12-11T13:13:37.223" v="220" actId="9405"/>
          <ac:inkMkLst>
            <pc:docMk/>
            <pc:sldMk cId="2504044746" sldId="897"/>
            <ac:inkMk id="112" creationId="{7BE54472-CAB6-89DE-9A29-5472400C76BD}"/>
          </ac:inkMkLst>
        </pc:inkChg>
        <pc:inkChg chg="add mod">
          <ac:chgData name="uppys" userId="9cacfd68-f270-418a-9584-69c214d1619d" providerId="ADAL" clId="{030C634B-D829-48B2-A184-820323E3FA2A}" dt="2024-12-11T13:21:38.832" v="828" actId="1037"/>
          <ac:inkMkLst>
            <pc:docMk/>
            <pc:sldMk cId="2504044746" sldId="897"/>
            <ac:inkMk id="113" creationId="{450E551E-AEDE-E987-AC14-0C9EC84F8C3F}"/>
          </ac:inkMkLst>
        </pc:inkChg>
        <pc:inkChg chg="add mod">
          <ac:chgData name="uppys" userId="9cacfd68-f270-418a-9584-69c214d1619d" providerId="ADAL" clId="{030C634B-D829-48B2-A184-820323E3FA2A}" dt="2024-12-11T13:21:38.832" v="828" actId="1037"/>
          <ac:inkMkLst>
            <pc:docMk/>
            <pc:sldMk cId="2504044746" sldId="897"/>
            <ac:inkMk id="114" creationId="{D60CB3E5-30FE-5D14-FA9D-7BA80EB5AD31}"/>
          </ac:inkMkLst>
        </pc:inkChg>
        <pc:inkChg chg="add mod">
          <ac:chgData name="uppys" userId="9cacfd68-f270-418a-9584-69c214d1619d" providerId="ADAL" clId="{030C634B-D829-48B2-A184-820323E3FA2A}" dt="2024-12-11T13:21:38.832" v="828" actId="1037"/>
          <ac:inkMkLst>
            <pc:docMk/>
            <pc:sldMk cId="2504044746" sldId="897"/>
            <ac:inkMk id="115" creationId="{39476D23-F7C7-CF87-ECA6-4072548906A6}"/>
          </ac:inkMkLst>
        </pc:inkChg>
        <pc:inkChg chg="add mod">
          <ac:chgData name="uppys" userId="9cacfd68-f270-418a-9584-69c214d1619d" providerId="ADAL" clId="{030C634B-D829-48B2-A184-820323E3FA2A}" dt="2024-12-11T13:21:38.832" v="828" actId="1037"/>
          <ac:inkMkLst>
            <pc:docMk/>
            <pc:sldMk cId="2504044746" sldId="897"/>
            <ac:inkMk id="116" creationId="{3F25E20C-06AC-A66E-4485-2D0FE587B98F}"/>
          </ac:inkMkLst>
        </pc:inkChg>
        <pc:inkChg chg="add mod">
          <ac:chgData name="uppys" userId="9cacfd68-f270-418a-9584-69c214d1619d" providerId="ADAL" clId="{030C634B-D829-48B2-A184-820323E3FA2A}" dt="2024-12-11T13:21:38.832" v="828" actId="1037"/>
          <ac:inkMkLst>
            <pc:docMk/>
            <pc:sldMk cId="2504044746" sldId="897"/>
            <ac:inkMk id="117" creationId="{EA333BC0-716E-FD28-713A-F650965F7FAC}"/>
          </ac:inkMkLst>
        </pc:inkChg>
        <pc:inkChg chg="add del">
          <ac:chgData name="uppys" userId="9cacfd68-f270-418a-9584-69c214d1619d" providerId="ADAL" clId="{030C634B-D829-48B2-A184-820323E3FA2A}" dt="2024-12-11T13:14:10.462" v="227"/>
          <ac:inkMkLst>
            <pc:docMk/>
            <pc:sldMk cId="2504044746" sldId="897"/>
            <ac:inkMk id="118" creationId="{CD71D13C-6787-A584-98BB-869D07361FF2}"/>
          </ac:inkMkLst>
        </pc:inkChg>
        <pc:inkChg chg="add mod">
          <ac:chgData name="uppys" userId="9cacfd68-f270-418a-9584-69c214d1619d" providerId="ADAL" clId="{030C634B-D829-48B2-A184-820323E3FA2A}" dt="2024-12-11T13:21:38.832" v="828" actId="1037"/>
          <ac:inkMkLst>
            <pc:docMk/>
            <pc:sldMk cId="2504044746" sldId="897"/>
            <ac:inkMk id="119" creationId="{67D885E2-AC92-6DC4-4837-81149107F909}"/>
          </ac:inkMkLst>
        </pc:inkChg>
        <pc:inkChg chg="add del mod">
          <ac:chgData name="uppys" userId="9cacfd68-f270-418a-9584-69c214d1619d" providerId="ADAL" clId="{030C634B-D829-48B2-A184-820323E3FA2A}" dt="2024-12-11T13:14:26.933" v="237" actId="9405"/>
          <ac:inkMkLst>
            <pc:docMk/>
            <pc:sldMk cId="2504044746" sldId="897"/>
            <ac:inkMk id="120" creationId="{43519375-B2E7-A840-A2B1-AA946DE0970B}"/>
          </ac:inkMkLst>
        </pc:inkChg>
        <pc:inkChg chg="add del">
          <ac:chgData name="uppys" userId="9cacfd68-f270-418a-9584-69c214d1619d" providerId="ADAL" clId="{030C634B-D829-48B2-A184-820323E3FA2A}" dt="2024-12-11T13:14:26.416" v="236" actId="9405"/>
          <ac:inkMkLst>
            <pc:docMk/>
            <pc:sldMk cId="2504044746" sldId="897"/>
            <ac:inkMk id="121" creationId="{EDBEA96F-2BDA-413B-83BA-1D4F842AB058}"/>
          </ac:inkMkLst>
        </pc:inkChg>
        <pc:inkChg chg="add mod">
          <ac:chgData name="uppys" userId="9cacfd68-f270-418a-9584-69c214d1619d" providerId="ADAL" clId="{030C634B-D829-48B2-A184-820323E3FA2A}" dt="2024-12-11T13:21:38.832" v="828" actId="1037"/>
          <ac:inkMkLst>
            <pc:docMk/>
            <pc:sldMk cId="2504044746" sldId="897"/>
            <ac:inkMk id="122" creationId="{CCC9A016-30E1-176A-7405-999786C55B3D}"/>
          </ac:inkMkLst>
        </pc:inkChg>
        <pc:inkChg chg="add del">
          <ac:chgData name="uppys" userId="9cacfd68-f270-418a-9584-69c214d1619d" providerId="ADAL" clId="{030C634B-D829-48B2-A184-820323E3FA2A}" dt="2024-12-11T13:14:52.377" v="311" actId="9405"/>
          <ac:inkMkLst>
            <pc:docMk/>
            <pc:sldMk cId="2504044746" sldId="897"/>
            <ac:inkMk id="123" creationId="{D299E583-BB07-FF37-263D-BC78EF5576C2}"/>
          </ac:inkMkLst>
        </pc:inkChg>
        <pc:inkChg chg="add del mod">
          <ac:chgData name="uppys" userId="9cacfd68-f270-418a-9584-69c214d1619d" providerId="ADAL" clId="{030C634B-D829-48B2-A184-820323E3FA2A}" dt="2024-12-11T13:15:38.774" v="581" actId="478"/>
          <ac:inkMkLst>
            <pc:docMk/>
            <pc:sldMk cId="2504044746" sldId="897"/>
            <ac:inkMk id="126" creationId="{7AE26BB8-E028-8E0E-8C73-E8FFEE847928}"/>
          </ac:inkMkLst>
        </pc:inkChg>
        <pc:inkChg chg="add del mod">
          <ac:chgData name="uppys" userId="9cacfd68-f270-418a-9584-69c214d1619d" providerId="ADAL" clId="{030C634B-D829-48B2-A184-820323E3FA2A}" dt="2024-12-11T13:17:02.898" v="624" actId="478"/>
          <ac:inkMkLst>
            <pc:docMk/>
            <pc:sldMk cId="2504044746" sldId="897"/>
            <ac:inkMk id="129" creationId="{7637841C-7A4C-78F9-9082-482F5AA038BB}"/>
          </ac:inkMkLst>
        </pc:inkChg>
        <pc:inkChg chg="add mod">
          <ac:chgData name="uppys" userId="9cacfd68-f270-418a-9584-69c214d1619d" providerId="ADAL" clId="{030C634B-D829-48B2-A184-820323E3FA2A}" dt="2024-12-11T13:21:38.832" v="828" actId="1037"/>
          <ac:inkMkLst>
            <pc:docMk/>
            <pc:sldMk cId="2504044746" sldId="897"/>
            <ac:inkMk id="130" creationId="{7CE1CE9A-0744-D1DD-10D1-6F4B85875653}"/>
          </ac:inkMkLst>
        </pc:inkChg>
        <pc:inkChg chg="add del">
          <ac:chgData name="uppys" userId="9cacfd68-f270-418a-9584-69c214d1619d" providerId="ADAL" clId="{030C634B-D829-48B2-A184-820323E3FA2A}" dt="2024-12-11T13:16:02.830" v="588" actId="9405"/>
          <ac:inkMkLst>
            <pc:docMk/>
            <pc:sldMk cId="2504044746" sldId="897"/>
            <ac:inkMk id="131" creationId="{DF521441-278C-B286-C2E1-A38ECAE0EBE6}"/>
          </ac:inkMkLst>
        </pc:inkChg>
        <pc:inkChg chg="add mod">
          <ac:chgData name="uppys" userId="9cacfd68-f270-418a-9584-69c214d1619d" providerId="ADAL" clId="{030C634B-D829-48B2-A184-820323E3FA2A}" dt="2024-12-11T13:21:38.832" v="828" actId="1037"/>
          <ac:inkMkLst>
            <pc:docMk/>
            <pc:sldMk cId="2504044746" sldId="897"/>
            <ac:inkMk id="132" creationId="{712C41C0-43A7-C0BF-B06C-E0A2D337D143}"/>
          </ac:inkMkLst>
        </pc:inkChg>
        <pc:inkChg chg="add mod">
          <ac:chgData name="uppys" userId="9cacfd68-f270-418a-9584-69c214d1619d" providerId="ADAL" clId="{030C634B-D829-48B2-A184-820323E3FA2A}" dt="2024-12-11T13:16:46.334" v="623"/>
          <ac:inkMkLst>
            <pc:docMk/>
            <pc:sldMk cId="2504044746" sldId="897"/>
            <ac:inkMk id="133" creationId="{24E39A31-9ACE-61B1-25F7-B995C6F86207}"/>
          </ac:inkMkLst>
        </pc:inkChg>
        <pc:inkChg chg="add mod">
          <ac:chgData name="uppys" userId="9cacfd68-f270-418a-9584-69c214d1619d" providerId="ADAL" clId="{030C634B-D829-48B2-A184-820323E3FA2A}" dt="2024-12-11T13:16:46.334" v="623"/>
          <ac:inkMkLst>
            <pc:docMk/>
            <pc:sldMk cId="2504044746" sldId="897"/>
            <ac:inkMk id="134" creationId="{FDE87CBB-55CB-6B51-B5FF-29E009F1AD00}"/>
          </ac:inkMkLst>
        </pc:inkChg>
        <pc:inkChg chg="add mod">
          <ac:chgData name="uppys" userId="9cacfd68-f270-418a-9584-69c214d1619d" providerId="ADAL" clId="{030C634B-D829-48B2-A184-820323E3FA2A}" dt="2024-12-11T13:16:46.334" v="623"/>
          <ac:inkMkLst>
            <pc:docMk/>
            <pc:sldMk cId="2504044746" sldId="897"/>
            <ac:inkMk id="136" creationId="{0EF33D3F-0B18-3873-EE57-6B83A615331B}"/>
          </ac:inkMkLst>
        </pc:inkChg>
        <pc:inkChg chg="add mod">
          <ac:chgData name="uppys" userId="9cacfd68-f270-418a-9584-69c214d1619d" providerId="ADAL" clId="{030C634B-D829-48B2-A184-820323E3FA2A}" dt="2024-12-11T13:16:46.334" v="623"/>
          <ac:inkMkLst>
            <pc:docMk/>
            <pc:sldMk cId="2504044746" sldId="897"/>
            <ac:inkMk id="137" creationId="{90F13751-3369-4781-E035-70477C83851A}"/>
          </ac:inkMkLst>
        </pc:inkChg>
        <pc:inkChg chg="add mod">
          <ac:chgData name="uppys" userId="9cacfd68-f270-418a-9584-69c214d1619d" providerId="ADAL" clId="{030C634B-D829-48B2-A184-820323E3FA2A}" dt="2024-12-11T13:16:46.334" v="623"/>
          <ac:inkMkLst>
            <pc:docMk/>
            <pc:sldMk cId="2504044746" sldId="897"/>
            <ac:inkMk id="139" creationId="{AE85D5FA-C378-12D2-6255-C743A2B22BF4}"/>
          </ac:inkMkLst>
        </pc:inkChg>
        <pc:inkChg chg="add mod">
          <ac:chgData name="uppys" userId="9cacfd68-f270-418a-9584-69c214d1619d" providerId="ADAL" clId="{030C634B-D829-48B2-A184-820323E3FA2A}" dt="2024-12-11T13:16:46.334" v="623"/>
          <ac:inkMkLst>
            <pc:docMk/>
            <pc:sldMk cId="2504044746" sldId="897"/>
            <ac:inkMk id="140" creationId="{3EDDC9AC-1B9F-E464-D9D2-83238A155291}"/>
          </ac:inkMkLst>
        </pc:inkChg>
        <pc:inkChg chg="add mod">
          <ac:chgData name="uppys" userId="9cacfd68-f270-418a-9584-69c214d1619d" providerId="ADAL" clId="{030C634B-D829-48B2-A184-820323E3FA2A}" dt="2024-12-11T13:16:46.334" v="623"/>
          <ac:inkMkLst>
            <pc:docMk/>
            <pc:sldMk cId="2504044746" sldId="897"/>
            <ac:inkMk id="141" creationId="{3BF25557-B054-D60A-709B-DA73B8CB5B9C}"/>
          </ac:inkMkLst>
        </pc:inkChg>
        <pc:inkChg chg="add mod">
          <ac:chgData name="uppys" userId="9cacfd68-f270-418a-9584-69c214d1619d" providerId="ADAL" clId="{030C634B-D829-48B2-A184-820323E3FA2A}" dt="2024-12-11T13:16:46.334" v="623"/>
          <ac:inkMkLst>
            <pc:docMk/>
            <pc:sldMk cId="2504044746" sldId="897"/>
            <ac:inkMk id="142" creationId="{76C6F1BB-666E-2954-2084-E47498EB86A3}"/>
          </ac:inkMkLst>
        </pc:inkChg>
        <pc:inkChg chg="add mod">
          <ac:chgData name="uppys" userId="9cacfd68-f270-418a-9584-69c214d1619d" providerId="ADAL" clId="{030C634B-D829-48B2-A184-820323E3FA2A}" dt="2024-12-11T13:16:46.334" v="623"/>
          <ac:inkMkLst>
            <pc:docMk/>
            <pc:sldMk cId="2504044746" sldId="897"/>
            <ac:inkMk id="143" creationId="{E7F3BD5F-0E19-A74D-9FCF-FCE39778BB40}"/>
          </ac:inkMkLst>
        </pc:inkChg>
        <pc:inkChg chg="add del mod">
          <ac:chgData name="uppys" userId="9cacfd68-f270-418a-9584-69c214d1619d" providerId="ADAL" clId="{030C634B-D829-48B2-A184-820323E3FA2A}" dt="2024-12-11T13:16:30.393" v="603" actId="9405"/>
          <ac:inkMkLst>
            <pc:docMk/>
            <pc:sldMk cId="2504044746" sldId="897"/>
            <ac:inkMk id="144" creationId="{36BC97AF-7256-67F7-51B7-8E83426BE346}"/>
          </ac:inkMkLst>
        </pc:inkChg>
        <pc:inkChg chg="add mod">
          <ac:chgData name="uppys" userId="9cacfd68-f270-418a-9584-69c214d1619d" providerId="ADAL" clId="{030C634B-D829-48B2-A184-820323E3FA2A}" dt="2024-12-11T13:16:46.334" v="623"/>
          <ac:inkMkLst>
            <pc:docMk/>
            <pc:sldMk cId="2504044746" sldId="897"/>
            <ac:inkMk id="146" creationId="{61744809-5C6F-9B08-618E-4DF7869FD2F5}"/>
          </ac:inkMkLst>
        </pc:inkChg>
        <pc:inkChg chg="add mod">
          <ac:chgData name="uppys" userId="9cacfd68-f270-418a-9584-69c214d1619d" providerId="ADAL" clId="{030C634B-D829-48B2-A184-820323E3FA2A}" dt="2024-12-11T13:16:46.334" v="623"/>
          <ac:inkMkLst>
            <pc:docMk/>
            <pc:sldMk cId="2504044746" sldId="897"/>
            <ac:inkMk id="147" creationId="{0000201A-CF3C-A773-E764-0E8196AD6D06}"/>
          </ac:inkMkLst>
        </pc:inkChg>
        <pc:inkChg chg="add mod">
          <ac:chgData name="uppys" userId="9cacfd68-f270-418a-9584-69c214d1619d" providerId="ADAL" clId="{030C634B-D829-48B2-A184-820323E3FA2A}" dt="2024-12-11T13:16:46.334" v="623"/>
          <ac:inkMkLst>
            <pc:docMk/>
            <pc:sldMk cId="2504044746" sldId="897"/>
            <ac:inkMk id="149" creationId="{214E3595-7E0B-2438-B641-3AB0696EDF24}"/>
          </ac:inkMkLst>
        </pc:inkChg>
        <pc:inkChg chg="add mod">
          <ac:chgData name="uppys" userId="9cacfd68-f270-418a-9584-69c214d1619d" providerId="ADAL" clId="{030C634B-D829-48B2-A184-820323E3FA2A}" dt="2024-12-11T13:16:46.334" v="623"/>
          <ac:inkMkLst>
            <pc:docMk/>
            <pc:sldMk cId="2504044746" sldId="897"/>
            <ac:inkMk id="150" creationId="{D88FB67C-3584-1F5C-E5D1-EDACECC5EA88}"/>
          </ac:inkMkLst>
        </pc:inkChg>
        <pc:inkChg chg="add del mod">
          <ac:chgData name="uppys" userId="9cacfd68-f270-418a-9584-69c214d1619d" providerId="ADAL" clId="{030C634B-D829-48B2-A184-820323E3FA2A}" dt="2024-12-11T13:16:36.123" v="611" actId="9405"/>
          <ac:inkMkLst>
            <pc:docMk/>
            <pc:sldMk cId="2504044746" sldId="897"/>
            <ac:inkMk id="151" creationId="{C48C7197-AF3A-103F-D190-53BF73A10980}"/>
          </ac:inkMkLst>
        </pc:inkChg>
        <pc:inkChg chg="add del">
          <ac:chgData name="uppys" userId="9cacfd68-f270-418a-9584-69c214d1619d" providerId="ADAL" clId="{030C634B-D829-48B2-A184-820323E3FA2A}" dt="2024-12-11T13:16:38.104" v="613" actId="9405"/>
          <ac:inkMkLst>
            <pc:docMk/>
            <pc:sldMk cId="2504044746" sldId="897"/>
            <ac:inkMk id="153" creationId="{EC695108-B342-35F7-1B3D-A23C054DED99}"/>
          </ac:inkMkLst>
        </pc:inkChg>
        <pc:inkChg chg="add mod">
          <ac:chgData name="uppys" userId="9cacfd68-f270-418a-9584-69c214d1619d" providerId="ADAL" clId="{030C634B-D829-48B2-A184-820323E3FA2A}" dt="2024-12-11T13:16:46.334" v="623"/>
          <ac:inkMkLst>
            <pc:docMk/>
            <pc:sldMk cId="2504044746" sldId="897"/>
            <ac:inkMk id="154" creationId="{7575DA00-904D-BCF5-F462-E0CFD7C1A53C}"/>
          </ac:inkMkLst>
        </pc:inkChg>
        <pc:inkChg chg="add mod">
          <ac:chgData name="uppys" userId="9cacfd68-f270-418a-9584-69c214d1619d" providerId="ADAL" clId="{030C634B-D829-48B2-A184-820323E3FA2A}" dt="2024-12-11T13:16:46.334" v="623"/>
          <ac:inkMkLst>
            <pc:docMk/>
            <pc:sldMk cId="2504044746" sldId="897"/>
            <ac:inkMk id="155" creationId="{3E56E2C7-2BE8-39AA-7444-7E922E5B1D4A}"/>
          </ac:inkMkLst>
        </pc:inkChg>
        <pc:inkChg chg="add mod">
          <ac:chgData name="uppys" userId="9cacfd68-f270-418a-9584-69c214d1619d" providerId="ADAL" clId="{030C634B-D829-48B2-A184-820323E3FA2A}" dt="2024-12-11T13:16:46.334" v="623"/>
          <ac:inkMkLst>
            <pc:docMk/>
            <pc:sldMk cId="2504044746" sldId="897"/>
            <ac:inkMk id="156" creationId="{C3A913D8-8B89-8EBB-3DA2-738329E5426D}"/>
          </ac:inkMkLst>
        </pc:inkChg>
        <pc:inkChg chg="add mod">
          <ac:chgData name="uppys" userId="9cacfd68-f270-418a-9584-69c214d1619d" providerId="ADAL" clId="{030C634B-D829-48B2-A184-820323E3FA2A}" dt="2024-12-11T13:16:46.334" v="623"/>
          <ac:inkMkLst>
            <pc:docMk/>
            <pc:sldMk cId="2504044746" sldId="897"/>
            <ac:inkMk id="158" creationId="{1C087E59-40FD-4F67-4D55-8BC40036D274}"/>
          </ac:inkMkLst>
        </pc:inkChg>
        <pc:inkChg chg="add mod">
          <ac:chgData name="uppys" userId="9cacfd68-f270-418a-9584-69c214d1619d" providerId="ADAL" clId="{030C634B-D829-48B2-A184-820323E3FA2A}" dt="2024-12-11T13:16:46.334" v="623"/>
          <ac:inkMkLst>
            <pc:docMk/>
            <pc:sldMk cId="2504044746" sldId="897"/>
            <ac:inkMk id="160" creationId="{251F7C78-E5BA-EA05-54E5-07C9A5CA11A9}"/>
          </ac:inkMkLst>
        </pc:inkChg>
        <pc:inkChg chg="add mod">
          <ac:chgData name="uppys" userId="9cacfd68-f270-418a-9584-69c214d1619d" providerId="ADAL" clId="{030C634B-D829-48B2-A184-820323E3FA2A}" dt="2024-12-11T13:16:46.334" v="623"/>
          <ac:inkMkLst>
            <pc:docMk/>
            <pc:sldMk cId="2504044746" sldId="897"/>
            <ac:inkMk id="162" creationId="{A6116C2F-9411-FDE8-D287-42DDE4E8D544}"/>
          </ac:inkMkLst>
        </pc:inkChg>
        <pc:cxnChg chg="add mod">
          <ac:chgData name="uppys" userId="9cacfd68-f270-418a-9584-69c214d1619d" providerId="ADAL" clId="{030C634B-D829-48B2-A184-820323E3FA2A}" dt="2024-12-11T13:21:38.832" v="828" actId="1037"/>
          <ac:cxnSpMkLst>
            <pc:docMk/>
            <pc:sldMk cId="2504044746" sldId="897"/>
            <ac:cxnSpMk id="8" creationId="{95D4ABA6-A971-75B4-2F8C-6BABCD717D5F}"/>
          </ac:cxnSpMkLst>
        </pc:cxnChg>
        <pc:cxnChg chg="add mod">
          <ac:chgData name="uppys" userId="9cacfd68-f270-418a-9584-69c214d1619d" providerId="ADAL" clId="{030C634B-D829-48B2-A184-820323E3FA2A}" dt="2024-12-11T13:21:38.832" v="828" actId="1037"/>
          <ac:cxnSpMkLst>
            <pc:docMk/>
            <pc:sldMk cId="2504044746" sldId="897"/>
            <ac:cxnSpMk id="9" creationId="{0B8B0AEC-02A8-1839-E5D8-CBB23CA1AF22}"/>
          </ac:cxnSpMkLst>
        </pc:cxnChg>
        <pc:cxnChg chg="add mod">
          <ac:chgData name="uppys" userId="9cacfd68-f270-418a-9584-69c214d1619d" providerId="ADAL" clId="{030C634B-D829-48B2-A184-820323E3FA2A}" dt="2024-12-11T13:21:29.275" v="818" actId="1035"/>
          <ac:cxnSpMkLst>
            <pc:docMk/>
            <pc:sldMk cId="2504044746" sldId="897"/>
            <ac:cxnSpMk id="10" creationId="{CA1032C5-BCED-C302-2E72-E7929D942BF8}"/>
          </ac:cxnSpMkLst>
        </pc:cxnChg>
        <pc:cxnChg chg="add mod">
          <ac:chgData name="uppys" userId="9cacfd68-f270-418a-9584-69c214d1619d" providerId="ADAL" clId="{030C634B-D829-48B2-A184-820323E3FA2A}" dt="2024-12-11T13:21:29.275" v="818" actId="1035"/>
          <ac:cxnSpMkLst>
            <pc:docMk/>
            <pc:sldMk cId="2504044746" sldId="897"/>
            <ac:cxnSpMk id="11" creationId="{2ACDB7FD-7819-5DFE-6567-C31B60626B35}"/>
          </ac:cxnSpMkLst>
        </pc:cxnChg>
        <pc:cxnChg chg="add mod">
          <ac:chgData name="uppys" userId="9cacfd68-f270-418a-9584-69c214d1619d" providerId="ADAL" clId="{030C634B-D829-48B2-A184-820323E3FA2A}" dt="2024-12-11T13:21:29.275" v="818" actId="1035"/>
          <ac:cxnSpMkLst>
            <pc:docMk/>
            <pc:sldMk cId="2504044746" sldId="897"/>
            <ac:cxnSpMk id="47" creationId="{788DEC20-6336-01E7-9D2E-7B514AB9C91F}"/>
          </ac:cxnSpMkLst>
        </pc:cxnChg>
        <pc:cxnChg chg="add del mod">
          <ac:chgData name="uppys" userId="9cacfd68-f270-418a-9584-69c214d1619d" providerId="ADAL" clId="{030C634B-D829-48B2-A184-820323E3FA2A}" dt="2024-12-11T13:07:03.097" v="130" actId="478"/>
          <ac:cxnSpMkLst>
            <pc:docMk/>
            <pc:sldMk cId="2504044746" sldId="897"/>
            <ac:cxnSpMk id="48" creationId="{4B18E01B-7711-F92F-3CD8-30B9D66B3B1C}"/>
          </ac:cxnSpMkLst>
        </pc:cxnChg>
        <pc:cxnChg chg="add del mod">
          <ac:chgData name="uppys" userId="9cacfd68-f270-418a-9584-69c214d1619d" providerId="ADAL" clId="{030C634B-D829-48B2-A184-820323E3FA2A}" dt="2024-12-11T13:07:03.097" v="130" actId="478"/>
          <ac:cxnSpMkLst>
            <pc:docMk/>
            <pc:sldMk cId="2504044746" sldId="897"/>
            <ac:cxnSpMk id="49" creationId="{0FCB8494-D2DC-50EA-5FE5-05003139FD73}"/>
          </ac:cxnSpMkLst>
        </pc:cxnChg>
        <pc:cxnChg chg="add del mod">
          <ac:chgData name="uppys" userId="9cacfd68-f270-418a-9584-69c214d1619d" providerId="ADAL" clId="{030C634B-D829-48B2-A184-820323E3FA2A}" dt="2024-12-11T13:07:03.097" v="130" actId="478"/>
          <ac:cxnSpMkLst>
            <pc:docMk/>
            <pc:sldMk cId="2504044746" sldId="897"/>
            <ac:cxnSpMk id="50" creationId="{BDE0F903-B6DE-B655-24C1-BD10A89843A6}"/>
          </ac:cxnSpMkLst>
        </pc:cxnChg>
        <pc:cxnChg chg="add mod">
          <ac:chgData name="uppys" userId="9cacfd68-f270-418a-9584-69c214d1619d" providerId="ADAL" clId="{030C634B-D829-48B2-A184-820323E3FA2A}" dt="2024-12-11T13:21:29.275" v="818" actId="1035"/>
          <ac:cxnSpMkLst>
            <pc:docMk/>
            <pc:sldMk cId="2504044746" sldId="897"/>
            <ac:cxnSpMk id="51" creationId="{8452DBF5-AEF2-1A03-D21A-266308287900}"/>
          </ac:cxnSpMkLst>
        </pc:cxnChg>
        <pc:cxnChg chg="add mod">
          <ac:chgData name="uppys" userId="9cacfd68-f270-418a-9584-69c214d1619d" providerId="ADAL" clId="{030C634B-D829-48B2-A184-820323E3FA2A}" dt="2024-12-11T13:21:38.832" v="828" actId="1037"/>
          <ac:cxnSpMkLst>
            <pc:docMk/>
            <pc:sldMk cId="2504044746" sldId="897"/>
            <ac:cxnSpMk id="52" creationId="{D3E0BD49-A7EB-EA2F-EEDC-081CA8E722F1}"/>
          </ac:cxnSpMkLst>
        </pc:cxnChg>
        <pc:cxnChg chg="add mod">
          <ac:chgData name="uppys" userId="9cacfd68-f270-418a-9584-69c214d1619d" providerId="ADAL" clId="{030C634B-D829-48B2-A184-820323E3FA2A}" dt="2024-12-11T13:21:38.832" v="828" actId="1037"/>
          <ac:cxnSpMkLst>
            <pc:docMk/>
            <pc:sldMk cId="2504044746" sldId="897"/>
            <ac:cxnSpMk id="53" creationId="{777BB336-069D-D451-F463-3693576D67BC}"/>
          </ac:cxnSpMkLst>
        </pc:cxnChg>
        <pc:cxnChg chg="add mod">
          <ac:chgData name="uppys" userId="9cacfd68-f270-418a-9584-69c214d1619d" providerId="ADAL" clId="{030C634B-D829-48B2-A184-820323E3FA2A}" dt="2024-12-11T13:13:03.339" v="214" actId="1076"/>
          <ac:cxnSpMkLst>
            <pc:docMk/>
            <pc:sldMk cId="2504044746" sldId="897"/>
            <ac:cxnSpMk id="54" creationId="{690A6023-5C9E-DD3A-4B11-CBF61635B717}"/>
          </ac:cxnSpMkLst>
        </pc:cxnChg>
        <pc:cxnChg chg="add mod">
          <ac:chgData name="uppys" userId="9cacfd68-f270-418a-9584-69c214d1619d" providerId="ADAL" clId="{030C634B-D829-48B2-A184-820323E3FA2A}" dt="2024-12-11T13:13:03.339" v="214" actId="1076"/>
          <ac:cxnSpMkLst>
            <pc:docMk/>
            <pc:sldMk cId="2504044746" sldId="897"/>
            <ac:cxnSpMk id="55" creationId="{DFA63B46-307F-848C-59F4-D77210A29FA0}"/>
          </ac:cxnSpMkLst>
        </pc:cxnChg>
        <pc:cxnChg chg="add mod">
          <ac:chgData name="uppys" userId="9cacfd68-f270-418a-9584-69c214d1619d" providerId="ADAL" clId="{030C634B-D829-48B2-A184-820323E3FA2A}" dt="2024-12-11T13:21:38.832" v="828" actId="1037"/>
          <ac:cxnSpMkLst>
            <pc:docMk/>
            <pc:sldMk cId="2504044746" sldId="897"/>
            <ac:cxnSpMk id="57" creationId="{1C7C2297-C581-DD85-3D9B-D07D5222FFE8}"/>
          </ac:cxnSpMkLst>
        </pc:cxnChg>
        <pc:cxnChg chg="add mod">
          <ac:chgData name="uppys" userId="9cacfd68-f270-418a-9584-69c214d1619d" providerId="ADAL" clId="{030C634B-D829-48B2-A184-820323E3FA2A}" dt="2024-12-11T13:21:38.832" v="828" actId="1037"/>
          <ac:cxnSpMkLst>
            <pc:docMk/>
            <pc:sldMk cId="2504044746" sldId="897"/>
            <ac:cxnSpMk id="58" creationId="{A4FF4903-2C4E-FEDB-DD2E-58FC99EC7DB9}"/>
          </ac:cxnSpMkLst>
        </pc:cxnChg>
        <pc:cxnChg chg="add del mod">
          <ac:chgData name="uppys" userId="9cacfd68-f270-418a-9584-69c214d1619d" providerId="ADAL" clId="{030C634B-D829-48B2-A184-820323E3FA2A}" dt="2024-12-11T13:15:44.335" v="584" actId="478"/>
          <ac:cxnSpMkLst>
            <pc:docMk/>
            <pc:sldMk cId="2504044746" sldId="897"/>
            <ac:cxnSpMk id="80" creationId="{526CF3CF-5B9A-B638-AD87-897E79294FAA}"/>
          </ac:cxnSpMkLst>
        </pc:cxnChg>
        <pc:cxnChg chg="add del mod">
          <ac:chgData name="uppys" userId="9cacfd68-f270-418a-9584-69c214d1619d" providerId="ADAL" clId="{030C634B-D829-48B2-A184-820323E3FA2A}" dt="2024-12-11T13:15:37.306" v="580" actId="478"/>
          <ac:cxnSpMkLst>
            <pc:docMk/>
            <pc:sldMk cId="2504044746" sldId="897"/>
            <ac:cxnSpMk id="81" creationId="{716AC3F2-9B14-E887-2273-A308A7D03FB5}"/>
          </ac:cxnSpMkLst>
        </pc:cxnChg>
        <pc:cxnChg chg="add mod">
          <ac:chgData name="uppys" userId="9cacfd68-f270-418a-9584-69c214d1619d" providerId="ADAL" clId="{030C634B-D829-48B2-A184-820323E3FA2A}" dt="2024-12-11T13:13:03.339" v="214" actId="1076"/>
          <ac:cxnSpMkLst>
            <pc:docMk/>
            <pc:sldMk cId="2504044746" sldId="897"/>
            <ac:cxnSpMk id="82" creationId="{F1235543-5FD0-6CE2-8692-F0531E61C948}"/>
          </ac:cxnSpMkLst>
        </pc:cxnChg>
        <pc:cxnChg chg="add mod">
          <ac:chgData name="uppys" userId="9cacfd68-f270-418a-9584-69c214d1619d" providerId="ADAL" clId="{030C634B-D829-48B2-A184-820323E3FA2A}" dt="2024-12-11T13:13:03.339" v="214" actId="1076"/>
          <ac:cxnSpMkLst>
            <pc:docMk/>
            <pc:sldMk cId="2504044746" sldId="897"/>
            <ac:cxnSpMk id="83" creationId="{063F4EAE-ADF3-70B8-13BC-FE77D8B27ED7}"/>
          </ac:cxnSpMkLst>
        </pc:cxnChg>
        <pc:cxnChg chg="add del mod">
          <ac:chgData name="uppys" userId="9cacfd68-f270-418a-9584-69c214d1619d" providerId="ADAL" clId="{030C634B-D829-48B2-A184-820323E3FA2A}" dt="2024-12-11T13:21:38.832" v="828" actId="1037"/>
          <ac:cxnSpMkLst>
            <pc:docMk/>
            <pc:sldMk cId="2504044746" sldId="897"/>
            <ac:cxnSpMk id="124" creationId="{7A49AB05-B300-6144-1569-A3770686A189}"/>
          </ac:cxnSpMkLst>
        </pc:cxnChg>
        <pc:cxnChg chg="add mod">
          <ac:chgData name="uppys" userId="9cacfd68-f270-418a-9584-69c214d1619d" providerId="ADAL" clId="{030C634B-D829-48B2-A184-820323E3FA2A}" dt="2024-12-11T13:21:38.832" v="828" actId="1037"/>
          <ac:cxnSpMkLst>
            <pc:docMk/>
            <pc:sldMk cId="2504044746" sldId="897"/>
            <ac:cxnSpMk id="125" creationId="{982615D7-9B1B-19EE-9BEC-82B5A4CB59B1}"/>
          </ac:cxnSpMkLst>
        </pc:cxnChg>
        <pc:cxnChg chg="add del mod">
          <ac:chgData name="uppys" userId="9cacfd68-f270-418a-9584-69c214d1619d" providerId="ADAL" clId="{030C634B-D829-48B2-A184-820323E3FA2A}" dt="2024-12-11T13:17:02.898" v="624" actId="478"/>
          <ac:cxnSpMkLst>
            <pc:docMk/>
            <pc:sldMk cId="2504044746" sldId="897"/>
            <ac:cxnSpMk id="127" creationId="{760CE73B-9066-7521-85E4-280278097440}"/>
          </ac:cxnSpMkLst>
        </pc:cxnChg>
        <pc:cxnChg chg="add del mod">
          <ac:chgData name="uppys" userId="9cacfd68-f270-418a-9584-69c214d1619d" providerId="ADAL" clId="{030C634B-D829-48B2-A184-820323E3FA2A}" dt="2024-12-11T13:17:02.898" v="624" actId="478"/>
          <ac:cxnSpMkLst>
            <pc:docMk/>
            <pc:sldMk cId="2504044746" sldId="897"/>
            <ac:cxnSpMk id="128" creationId="{8BDD41B6-8BE5-260A-93CA-6253BB310D39}"/>
          </ac:cxnSpMkLst>
        </pc:cxnChg>
      </pc:sldChg>
      <pc:sldChg chg="mod modShow">
        <pc:chgData name="uppys" userId="9cacfd68-f270-418a-9584-69c214d1619d" providerId="ADAL" clId="{030C634B-D829-48B2-A184-820323E3FA2A}" dt="2024-12-11T13:56:41.506" v="1085" actId="729"/>
        <pc:sldMkLst>
          <pc:docMk/>
          <pc:sldMk cId="4134013846" sldId="906"/>
        </pc:sldMkLst>
      </pc:sldChg>
      <pc:sldChg chg="del">
        <pc:chgData name="uppys" userId="9cacfd68-f270-418a-9584-69c214d1619d" providerId="ADAL" clId="{030C634B-D829-48B2-A184-820323E3FA2A}" dt="2024-12-11T13:29:46.174" v="1081" actId="47"/>
        <pc:sldMkLst>
          <pc:docMk/>
          <pc:sldMk cId="2835498256" sldId="907"/>
        </pc:sldMkLst>
      </pc:sldChg>
      <pc:sldChg chg="addSp delSp modSp mod ord modAnim">
        <pc:chgData name="uppys" userId="9cacfd68-f270-418a-9584-69c214d1619d" providerId="ADAL" clId="{030C634B-D829-48B2-A184-820323E3FA2A}" dt="2024-12-11T13:33:09.218" v="1084"/>
        <pc:sldMkLst>
          <pc:docMk/>
          <pc:sldMk cId="2428574211" sldId="912"/>
        </pc:sldMkLst>
        <pc:spChg chg="mod ord">
          <ac:chgData name="uppys" userId="9cacfd68-f270-418a-9584-69c214d1619d" providerId="ADAL" clId="{030C634B-D829-48B2-A184-820323E3FA2A}" dt="2024-12-11T13:29:20.957" v="1002"/>
          <ac:spMkLst>
            <pc:docMk/>
            <pc:sldMk cId="2428574211" sldId="912"/>
            <ac:spMk id="2" creationId="{7B24C839-1FC9-E19E-6BEA-BEA59335644E}"/>
          </ac:spMkLst>
        </pc:spChg>
        <pc:spChg chg="mod ord">
          <ac:chgData name="uppys" userId="9cacfd68-f270-418a-9584-69c214d1619d" providerId="ADAL" clId="{030C634B-D829-48B2-A184-820323E3FA2A}" dt="2024-12-11T13:29:20.955" v="994"/>
          <ac:spMkLst>
            <pc:docMk/>
            <pc:sldMk cId="2428574211" sldId="912"/>
            <ac:spMk id="3" creationId="{B80F3F17-B5FC-6498-1F58-BB65F3B3F65F}"/>
          </ac:spMkLst>
        </pc:spChg>
        <pc:spChg chg="mod ord">
          <ac:chgData name="uppys" userId="9cacfd68-f270-418a-9584-69c214d1619d" providerId="ADAL" clId="{030C634B-D829-48B2-A184-820323E3FA2A}" dt="2024-12-11T13:29:20.955" v="996"/>
          <ac:spMkLst>
            <pc:docMk/>
            <pc:sldMk cId="2428574211" sldId="912"/>
            <ac:spMk id="4" creationId="{6F7417A8-147D-F9AB-16D2-FCA9D2F605A3}"/>
          </ac:spMkLst>
        </pc:spChg>
        <pc:spChg chg="mod ord">
          <ac:chgData name="uppys" userId="9cacfd68-f270-418a-9584-69c214d1619d" providerId="ADAL" clId="{030C634B-D829-48B2-A184-820323E3FA2A}" dt="2024-12-11T13:29:20.956" v="998"/>
          <ac:spMkLst>
            <pc:docMk/>
            <pc:sldMk cId="2428574211" sldId="912"/>
            <ac:spMk id="5" creationId="{68130889-641C-D617-533D-21FD95166BA9}"/>
          </ac:spMkLst>
        </pc:spChg>
        <pc:spChg chg="mod ord topLvl">
          <ac:chgData name="uppys" userId="9cacfd68-f270-418a-9584-69c214d1619d" providerId="ADAL" clId="{030C634B-D829-48B2-A184-820323E3FA2A}" dt="2024-12-11T13:29:20.957" v="1004"/>
          <ac:spMkLst>
            <pc:docMk/>
            <pc:sldMk cId="2428574211" sldId="912"/>
            <ac:spMk id="17" creationId="{E471F715-E5AC-2FF6-7AC3-3D613ADB405C}"/>
          </ac:spMkLst>
        </pc:spChg>
        <pc:spChg chg="mod ord topLvl">
          <ac:chgData name="uppys" userId="9cacfd68-f270-418a-9584-69c214d1619d" providerId="ADAL" clId="{030C634B-D829-48B2-A184-820323E3FA2A}" dt="2024-12-11T13:29:20.958" v="1006"/>
          <ac:spMkLst>
            <pc:docMk/>
            <pc:sldMk cId="2428574211" sldId="912"/>
            <ac:spMk id="18" creationId="{1E607776-6CAC-992C-7E00-C83F74E7926D}"/>
          </ac:spMkLst>
        </pc:spChg>
        <pc:spChg chg="mod ord topLvl">
          <ac:chgData name="uppys" userId="9cacfd68-f270-418a-9584-69c214d1619d" providerId="ADAL" clId="{030C634B-D829-48B2-A184-820323E3FA2A}" dt="2024-12-11T13:29:20.958" v="1008"/>
          <ac:spMkLst>
            <pc:docMk/>
            <pc:sldMk cId="2428574211" sldId="912"/>
            <ac:spMk id="19" creationId="{D43B1A52-E8F6-5E0E-4BC1-561DF7993A52}"/>
          </ac:spMkLst>
        </pc:spChg>
        <pc:spChg chg="mod ord topLvl">
          <ac:chgData name="uppys" userId="9cacfd68-f270-418a-9584-69c214d1619d" providerId="ADAL" clId="{030C634B-D829-48B2-A184-820323E3FA2A}" dt="2024-12-11T13:29:20.959" v="1010"/>
          <ac:spMkLst>
            <pc:docMk/>
            <pc:sldMk cId="2428574211" sldId="912"/>
            <ac:spMk id="20" creationId="{FAC49C49-B25B-D104-9F6A-D8F0154691E9}"/>
          </ac:spMkLst>
        </pc:spChg>
        <pc:spChg chg="mod ord topLvl">
          <ac:chgData name="uppys" userId="9cacfd68-f270-418a-9584-69c214d1619d" providerId="ADAL" clId="{030C634B-D829-48B2-A184-820323E3FA2A}" dt="2024-12-11T13:29:20.961" v="1012"/>
          <ac:spMkLst>
            <pc:docMk/>
            <pc:sldMk cId="2428574211" sldId="912"/>
            <ac:spMk id="21" creationId="{803CACBA-CBDB-58F7-6A15-804EE1DC7000}"/>
          </ac:spMkLst>
        </pc:spChg>
        <pc:spChg chg="mod ord topLvl">
          <ac:chgData name="uppys" userId="9cacfd68-f270-418a-9584-69c214d1619d" providerId="ADAL" clId="{030C634B-D829-48B2-A184-820323E3FA2A}" dt="2024-12-11T13:29:20.963" v="1014"/>
          <ac:spMkLst>
            <pc:docMk/>
            <pc:sldMk cId="2428574211" sldId="912"/>
            <ac:spMk id="23" creationId="{717AAE2A-F0D7-288C-4820-2CE3A6384FE7}"/>
          </ac:spMkLst>
        </pc:spChg>
        <pc:spChg chg="mod ord topLvl">
          <ac:chgData name="uppys" userId="9cacfd68-f270-418a-9584-69c214d1619d" providerId="ADAL" clId="{030C634B-D829-48B2-A184-820323E3FA2A}" dt="2024-12-11T13:29:20.964" v="1016"/>
          <ac:spMkLst>
            <pc:docMk/>
            <pc:sldMk cId="2428574211" sldId="912"/>
            <ac:spMk id="26" creationId="{C79CBC29-01A0-AB6E-EAB8-87476E011B97}"/>
          </ac:spMkLst>
        </pc:spChg>
        <pc:spChg chg="mod ord topLvl">
          <ac:chgData name="uppys" userId="9cacfd68-f270-418a-9584-69c214d1619d" providerId="ADAL" clId="{030C634B-D829-48B2-A184-820323E3FA2A}" dt="2024-12-11T13:29:20.967" v="1018"/>
          <ac:spMkLst>
            <pc:docMk/>
            <pc:sldMk cId="2428574211" sldId="912"/>
            <ac:spMk id="27" creationId="{263EBB67-4BEA-D325-D5A1-2CABEC5F28EF}"/>
          </ac:spMkLst>
        </pc:spChg>
        <pc:spChg chg="mod ord topLvl">
          <ac:chgData name="uppys" userId="9cacfd68-f270-418a-9584-69c214d1619d" providerId="ADAL" clId="{030C634B-D829-48B2-A184-820323E3FA2A}" dt="2024-12-11T13:29:20.969" v="1020"/>
          <ac:spMkLst>
            <pc:docMk/>
            <pc:sldMk cId="2428574211" sldId="912"/>
            <ac:spMk id="28" creationId="{610DB25C-CC27-0910-F790-7026428B760B}"/>
          </ac:spMkLst>
        </pc:spChg>
        <pc:spChg chg="mod ord topLvl">
          <ac:chgData name="uppys" userId="9cacfd68-f270-418a-9584-69c214d1619d" providerId="ADAL" clId="{030C634B-D829-48B2-A184-820323E3FA2A}" dt="2024-12-11T13:29:20.969" v="1022"/>
          <ac:spMkLst>
            <pc:docMk/>
            <pc:sldMk cId="2428574211" sldId="912"/>
            <ac:spMk id="29" creationId="{A9357088-B8A4-17CD-8D69-404022017FC4}"/>
          </ac:spMkLst>
        </pc:spChg>
        <pc:spChg chg="mod ord topLvl">
          <ac:chgData name="uppys" userId="9cacfd68-f270-418a-9584-69c214d1619d" providerId="ADAL" clId="{030C634B-D829-48B2-A184-820323E3FA2A}" dt="2024-12-11T13:29:20.970" v="1024"/>
          <ac:spMkLst>
            <pc:docMk/>
            <pc:sldMk cId="2428574211" sldId="912"/>
            <ac:spMk id="31" creationId="{B7A134DA-DB12-4FE6-B808-F9B5C75B1A71}"/>
          </ac:spMkLst>
        </pc:spChg>
        <pc:spChg chg="mod ord topLvl">
          <ac:chgData name="uppys" userId="9cacfd68-f270-418a-9584-69c214d1619d" providerId="ADAL" clId="{030C634B-D829-48B2-A184-820323E3FA2A}" dt="2024-12-11T13:29:20.972" v="1026"/>
          <ac:spMkLst>
            <pc:docMk/>
            <pc:sldMk cId="2428574211" sldId="912"/>
            <ac:spMk id="33" creationId="{7C4FA2BA-8C31-2C02-768C-3E0B804920EF}"/>
          </ac:spMkLst>
        </pc:spChg>
        <pc:spChg chg="mod ord topLvl">
          <ac:chgData name="uppys" userId="9cacfd68-f270-418a-9584-69c214d1619d" providerId="ADAL" clId="{030C634B-D829-48B2-A184-820323E3FA2A}" dt="2024-12-11T13:29:20.973" v="1028"/>
          <ac:spMkLst>
            <pc:docMk/>
            <pc:sldMk cId="2428574211" sldId="912"/>
            <ac:spMk id="34" creationId="{0E2C383F-5911-DF3A-2982-B9E277376AEE}"/>
          </ac:spMkLst>
        </pc:spChg>
        <pc:spChg chg="mod ord topLvl">
          <ac:chgData name="uppys" userId="9cacfd68-f270-418a-9584-69c214d1619d" providerId="ADAL" clId="{030C634B-D829-48B2-A184-820323E3FA2A}" dt="2024-12-11T13:29:20.974" v="1030"/>
          <ac:spMkLst>
            <pc:docMk/>
            <pc:sldMk cId="2428574211" sldId="912"/>
            <ac:spMk id="35" creationId="{4588591D-1534-2CB0-EE89-73FA2D383F2C}"/>
          </ac:spMkLst>
        </pc:spChg>
        <pc:spChg chg="mod ord topLvl">
          <ac:chgData name="uppys" userId="9cacfd68-f270-418a-9584-69c214d1619d" providerId="ADAL" clId="{030C634B-D829-48B2-A184-820323E3FA2A}" dt="2024-12-11T13:29:20.975" v="1032"/>
          <ac:spMkLst>
            <pc:docMk/>
            <pc:sldMk cId="2428574211" sldId="912"/>
            <ac:spMk id="36" creationId="{6FB87F9B-1504-E6D7-0B27-691F6A28C05A}"/>
          </ac:spMkLst>
        </pc:spChg>
        <pc:spChg chg="mod ord topLvl">
          <ac:chgData name="uppys" userId="9cacfd68-f270-418a-9584-69c214d1619d" providerId="ADAL" clId="{030C634B-D829-48B2-A184-820323E3FA2A}" dt="2024-12-11T13:29:20.976" v="1034"/>
          <ac:spMkLst>
            <pc:docMk/>
            <pc:sldMk cId="2428574211" sldId="912"/>
            <ac:spMk id="37" creationId="{AF130B11-1034-F406-A8B5-967588281106}"/>
          </ac:spMkLst>
        </pc:spChg>
        <pc:spChg chg="mod ord topLvl">
          <ac:chgData name="uppys" userId="9cacfd68-f270-418a-9584-69c214d1619d" providerId="ADAL" clId="{030C634B-D829-48B2-A184-820323E3FA2A}" dt="2024-12-11T13:29:20.977" v="1036"/>
          <ac:spMkLst>
            <pc:docMk/>
            <pc:sldMk cId="2428574211" sldId="912"/>
            <ac:spMk id="40" creationId="{341A9286-C26B-C509-5F38-830C6CFF4D2D}"/>
          </ac:spMkLst>
        </pc:spChg>
        <pc:spChg chg="mod ord topLvl">
          <ac:chgData name="uppys" userId="9cacfd68-f270-418a-9584-69c214d1619d" providerId="ADAL" clId="{030C634B-D829-48B2-A184-820323E3FA2A}" dt="2024-12-11T13:29:20.977" v="1038"/>
          <ac:spMkLst>
            <pc:docMk/>
            <pc:sldMk cId="2428574211" sldId="912"/>
            <ac:spMk id="41" creationId="{5AD6E4DB-5E2D-F251-EAF3-01566C17DDA8}"/>
          </ac:spMkLst>
        </pc:spChg>
        <pc:spChg chg="mod ord topLvl">
          <ac:chgData name="uppys" userId="9cacfd68-f270-418a-9584-69c214d1619d" providerId="ADAL" clId="{030C634B-D829-48B2-A184-820323E3FA2A}" dt="2024-12-11T13:29:20.978" v="1040"/>
          <ac:spMkLst>
            <pc:docMk/>
            <pc:sldMk cId="2428574211" sldId="912"/>
            <ac:spMk id="44" creationId="{BE520703-1F3E-B744-9803-CFCD55DEB2F2}"/>
          </ac:spMkLst>
        </pc:spChg>
        <pc:spChg chg="mod ord topLvl">
          <ac:chgData name="uppys" userId="9cacfd68-f270-418a-9584-69c214d1619d" providerId="ADAL" clId="{030C634B-D829-48B2-A184-820323E3FA2A}" dt="2024-12-11T13:29:20.979" v="1042"/>
          <ac:spMkLst>
            <pc:docMk/>
            <pc:sldMk cId="2428574211" sldId="912"/>
            <ac:spMk id="45" creationId="{6A01BA90-4DB3-AEBD-B264-05F9972A2E5A}"/>
          </ac:spMkLst>
        </pc:spChg>
        <pc:spChg chg="mod ord topLvl">
          <ac:chgData name="uppys" userId="9cacfd68-f270-418a-9584-69c214d1619d" providerId="ADAL" clId="{030C634B-D829-48B2-A184-820323E3FA2A}" dt="2024-12-11T13:29:20.980" v="1044"/>
          <ac:spMkLst>
            <pc:docMk/>
            <pc:sldMk cId="2428574211" sldId="912"/>
            <ac:spMk id="46" creationId="{701374A6-E346-DDC4-E856-D2A280A8CCBE}"/>
          </ac:spMkLst>
        </pc:spChg>
        <pc:spChg chg="mod ord topLvl">
          <ac:chgData name="uppys" userId="9cacfd68-f270-418a-9584-69c214d1619d" providerId="ADAL" clId="{030C634B-D829-48B2-A184-820323E3FA2A}" dt="2024-12-11T13:29:20.981" v="1046"/>
          <ac:spMkLst>
            <pc:docMk/>
            <pc:sldMk cId="2428574211" sldId="912"/>
            <ac:spMk id="47" creationId="{7ADD85C0-8E65-1CF7-D498-01520EF3BBC3}"/>
          </ac:spMkLst>
        </pc:spChg>
        <pc:spChg chg="mod ord">
          <ac:chgData name="uppys" userId="9cacfd68-f270-418a-9584-69c214d1619d" providerId="ADAL" clId="{030C634B-D829-48B2-A184-820323E3FA2A}" dt="2024-12-11T13:29:20.956" v="1000"/>
          <ac:spMkLst>
            <pc:docMk/>
            <pc:sldMk cId="2428574211" sldId="912"/>
            <ac:spMk id="49" creationId="{8EE4779E-FBFC-EB34-87F0-2AD43A38617C}"/>
          </ac:spMkLst>
        </pc:spChg>
        <pc:spChg chg="mod ord topLvl">
          <ac:chgData name="uppys" userId="9cacfd68-f270-418a-9584-69c214d1619d" providerId="ADAL" clId="{030C634B-D829-48B2-A184-820323E3FA2A}" dt="2024-12-11T13:29:20.981" v="1048"/>
          <ac:spMkLst>
            <pc:docMk/>
            <pc:sldMk cId="2428574211" sldId="912"/>
            <ac:spMk id="51" creationId="{ED9D0C70-DBBE-AB7A-92DC-313D7C19507D}"/>
          </ac:spMkLst>
        </pc:spChg>
        <pc:spChg chg="mod ord topLvl">
          <ac:chgData name="uppys" userId="9cacfd68-f270-418a-9584-69c214d1619d" providerId="ADAL" clId="{030C634B-D829-48B2-A184-820323E3FA2A}" dt="2024-12-11T13:29:20.981" v="1050"/>
          <ac:spMkLst>
            <pc:docMk/>
            <pc:sldMk cId="2428574211" sldId="912"/>
            <ac:spMk id="52" creationId="{F5E4C231-FF86-A549-D46D-87FBCBB1B7F7}"/>
          </ac:spMkLst>
        </pc:spChg>
        <pc:spChg chg="mod ord topLvl">
          <ac:chgData name="uppys" userId="9cacfd68-f270-418a-9584-69c214d1619d" providerId="ADAL" clId="{030C634B-D829-48B2-A184-820323E3FA2A}" dt="2024-12-11T13:29:20.983" v="1052"/>
          <ac:spMkLst>
            <pc:docMk/>
            <pc:sldMk cId="2428574211" sldId="912"/>
            <ac:spMk id="53" creationId="{8848603D-7B90-A6F5-2267-27FEB4D3AE21}"/>
          </ac:spMkLst>
        </pc:spChg>
        <pc:spChg chg="mod ord topLvl">
          <ac:chgData name="uppys" userId="9cacfd68-f270-418a-9584-69c214d1619d" providerId="ADAL" clId="{030C634B-D829-48B2-A184-820323E3FA2A}" dt="2024-12-11T13:29:20.983" v="1054"/>
          <ac:spMkLst>
            <pc:docMk/>
            <pc:sldMk cId="2428574211" sldId="912"/>
            <ac:spMk id="54" creationId="{AA5B1DF3-3E9B-2CCD-B350-9CE11F16810A}"/>
          </ac:spMkLst>
        </pc:spChg>
        <pc:spChg chg="mod ord topLvl">
          <ac:chgData name="uppys" userId="9cacfd68-f270-418a-9584-69c214d1619d" providerId="ADAL" clId="{030C634B-D829-48B2-A184-820323E3FA2A}" dt="2024-12-11T13:29:20.984" v="1056"/>
          <ac:spMkLst>
            <pc:docMk/>
            <pc:sldMk cId="2428574211" sldId="912"/>
            <ac:spMk id="56" creationId="{27126BCD-A5C5-6579-1CB0-B1A3EBF81B15}"/>
          </ac:spMkLst>
        </pc:spChg>
        <pc:spChg chg="mod ord topLvl">
          <ac:chgData name="uppys" userId="9cacfd68-f270-418a-9584-69c214d1619d" providerId="ADAL" clId="{030C634B-D829-48B2-A184-820323E3FA2A}" dt="2024-12-11T13:29:20.984" v="1058"/>
          <ac:spMkLst>
            <pc:docMk/>
            <pc:sldMk cId="2428574211" sldId="912"/>
            <ac:spMk id="57" creationId="{73A53CF8-F050-FE6E-9140-16D0FA88DC47}"/>
          </ac:spMkLst>
        </pc:spChg>
        <pc:spChg chg="mod ord topLvl">
          <ac:chgData name="uppys" userId="9cacfd68-f270-418a-9584-69c214d1619d" providerId="ADAL" clId="{030C634B-D829-48B2-A184-820323E3FA2A}" dt="2024-12-11T13:29:20.985" v="1060"/>
          <ac:spMkLst>
            <pc:docMk/>
            <pc:sldMk cId="2428574211" sldId="912"/>
            <ac:spMk id="58" creationId="{D3957610-4B8D-948F-960C-6BB64638220D}"/>
          </ac:spMkLst>
        </pc:spChg>
        <pc:spChg chg="mod">
          <ac:chgData name="uppys" userId="9cacfd68-f270-418a-9584-69c214d1619d" providerId="ADAL" clId="{030C634B-D829-48B2-A184-820323E3FA2A}" dt="2024-12-11T13:28:34.651" v="876" actId="165"/>
          <ac:spMkLst>
            <pc:docMk/>
            <pc:sldMk cId="2428574211" sldId="912"/>
            <ac:spMk id="61" creationId="{E583DF01-E9C6-F5D8-BF7D-0ED2B998DEED}"/>
          </ac:spMkLst>
        </pc:spChg>
        <pc:spChg chg="mod">
          <ac:chgData name="uppys" userId="9cacfd68-f270-418a-9584-69c214d1619d" providerId="ADAL" clId="{030C634B-D829-48B2-A184-820323E3FA2A}" dt="2024-12-11T13:28:34.651" v="876" actId="165"/>
          <ac:spMkLst>
            <pc:docMk/>
            <pc:sldMk cId="2428574211" sldId="912"/>
            <ac:spMk id="62" creationId="{6FE4AA76-0079-6887-655D-2CC715A74353}"/>
          </ac:spMkLst>
        </pc:spChg>
        <pc:spChg chg="mod">
          <ac:chgData name="uppys" userId="9cacfd68-f270-418a-9584-69c214d1619d" providerId="ADAL" clId="{030C634B-D829-48B2-A184-820323E3FA2A}" dt="2024-12-11T13:28:34.651" v="876" actId="165"/>
          <ac:spMkLst>
            <pc:docMk/>
            <pc:sldMk cId="2428574211" sldId="912"/>
            <ac:spMk id="65" creationId="{D486AB84-8617-1E04-09F3-CC678676E73A}"/>
          </ac:spMkLst>
        </pc:spChg>
        <pc:spChg chg="mod ord topLvl">
          <ac:chgData name="uppys" userId="9cacfd68-f270-418a-9584-69c214d1619d" providerId="ADAL" clId="{030C634B-D829-48B2-A184-820323E3FA2A}" dt="2024-12-11T13:29:20.986" v="1064"/>
          <ac:spMkLst>
            <pc:docMk/>
            <pc:sldMk cId="2428574211" sldId="912"/>
            <ac:spMk id="68" creationId="{D6757BCB-97F7-2EE6-CF75-7311FBF5818F}"/>
          </ac:spMkLst>
        </pc:spChg>
        <pc:spChg chg="mod ord topLvl">
          <ac:chgData name="uppys" userId="9cacfd68-f270-418a-9584-69c214d1619d" providerId="ADAL" clId="{030C634B-D829-48B2-A184-820323E3FA2A}" dt="2024-12-11T13:29:20.987" v="1066"/>
          <ac:spMkLst>
            <pc:docMk/>
            <pc:sldMk cId="2428574211" sldId="912"/>
            <ac:spMk id="69" creationId="{01708FEC-E6AF-618A-47E1-C0B969B10AAA}"/>
          </ac:spMkLst>
        </pc:spChg>
        <pc:spChg chg="mod ord topLvl">
          <ac:chgData name="uppys" userId="9cacfd68-f270-418a-9584-69c214d1619d" providerId="ADAL" clId="{030C634B-D829-48B2-A184-820323E3FA2A}" dt="2024-12-11T13:29:20.987" v="1068"/>
          <ac:spMkLst>
            <pc:docMk/>
            <pc:sldMk cId="2428574211" sldId="912"/>
            <ac:spMk id="70" creationId="{64315FEF-5C7C-38CA-3AA8-ED339A44F0EC}"/>
          </ac:spMkLst>
        </pc:spChg>
        <pc:spChg chg="add mod ord">
          <ac:chgData name="uppys" userId="9cacfd68-f270-418a-9584-69c214d1619d" providerId="ADAL" clId="{030C634B-D829-48B2-A184-820323E3FA2A}" dt="2024-12-11T13:29:20.951" v="984"/>
          <ac:spMkLst>
            <pc:docMk/>
            <pc:sldMk cId="2428574211" sldId="912"/>
            <ac:spMk id="94" creationId="{20C93428-0ADD-5B7E-1A32-D1ED900182DD}"/>
          </ac:spMkLst>
        </pc:spChg>
        <pc:spChg chg="mod ord topLvl">
          <ac:chgData name="uppys" userId="9cacfd68-f270-418a-9584-69c214d1619d" providerId="ADAL" clId="{030C634B-D829-48B2-A184-820323E3FA2A}" dt="2024-12-11T13:29:20.988" v="1072"/>
          <ac:spMkLst>
            <pc:docMk/>
            <pc:sldMk cId="2428574211" sldId="912"/>
            <ac:spMk id="97" creationId="{BBCAAB1C-4377-CBBF-3A73-EEB85414AD35}"/>
          </ac:spMkLst>
        </pc:spChg>
        <pc:spChg chg="mod ord topLvl">
          <ac:chgData name="uppys" userId="9cacfd68-f270-418a-9584-69c214d1619d" providerId="ADAL" clId="{030C634B-D829-48B2-A184-820323E3FA2A}" dt="2024-12-11T13:29:20.989" v="1074"/>
          <ac:spMkLst>
            <pc:docMk/>
            <pc:sldMk cId="2428574211" sldId="912"/>
            <ac:spMk id="98" creationId="{287C62B6-9F2F-0EEF-DE25-284151EB7DB4}"/>
          </ac:spMkLst>
        </pc:spChg>
        <pc:spChg chg="mod ord topLvl">
          <ac:chgData name="uppys" userId="9cacfd68-f270-418a-9584-69c214d1619d" providerId="ADAL" clId="{030C634B-D829-48B2-A184-820323E3FA2A}" dt="2024-12-11T13:29:20.989" v="1076"/>
          <ac:spMkLst>
            <pc:docMk/>
            <pc:sldMk cId="2428574211" sldId="912"/>
            <ac:spMk id="99" creationId="{EA99E0C7-1012-1068-EA30-4D2AE072086D}"/>
          </ac:spMkLst>
        </pc:spChg>
        <pc:spChg chg="mod">
          <ac:chgData name="uppys" userId="9cacfd68-f270-418a-9584-69c214d1619d" providerId="ADAL" clId="{030C634B-D829-48B2-A184-820323E3FA2A}" dt="2024-12-11T13:28:34.651" v="876" actId="165"/>
          <ac:spMkLst>
            <pc:docMk/>
            <pc:sldMk cId="2428574211" sldId="912"/>
            <ac:spMk id="100" creationId="{40E28836-B5AE-A5A8-BAA5-52E502A5EE69}"/>
          </ac:spMkLst>
        </pc:spChg>
        <pc:spChg chg="mod">
          <ac:chgData name="uppys" userId="9cacfd68-f270-418a-9584-69c214d1619d" providerId="ADAL" clId="{030C634B-D829-48B2-A184-820323E3FA2A}" dt="2024-12-11T13:28:34.651" v="876" actId="165"/>
          <ac:spMkLst>
            <pc:docMk/>
            <pc:sldMk cId="2428574211" sldId="912"/>
            <ac:spMk id="101" creationId="{468D373B-F9C9-0111-5C2B-180B8BE77046}"/>
          </ac:spMkLst>
        </pc:spChg>
        <pc:spChg chg="mod">
          <ac:chgData name="uppys" userId="9cacfd68-f270-418a-9584-69c214d1619d" providerId="ADAL" clId="{030C634B-D829-48B2-A184-820323E3FA2A}" dt="2024-12-11T13:28:34.651" v="876" actId="165"/>
          <ac:spMkLst>
            <pc:docMk/>
            <pc:sldMk cId="2428574211" sldId="912"/>
            <ac:spMk id="102" creationId="{D44B6AEA-0DBF-4541-A42B-53DF912DA922}"/>
          </ac:spMkLst>
        </pc:spChg>
        <pc:spChg chg="del mod ord topLvl">
          <ac:chgData name="uppys" userId="9cacfd68-f270-418a-9584-69c214d1619d" providerId="ADAL" clId="{030C634B-D829-48B2-A184-820323E3FA2A}" dt="2024-12-11T13:29:15.853" v="980" actId="478"/>
          <ac:spMkLst>
            <pc:docMk/>
            <pc:sldMk cId="2428574211" sldId="912"/>
            <ac:spMk id="103" creationId="{D4CF47BE-4E93-B82A-072B-B81349A22814}"/>
          </ac:spMkLst>
        </pc:spChg>
        <pc:spChg chg="mod ord topLvl">
          <ac:chgData name="uppys" userId="9cacfd68-f270-418a-9584-69c214d1619d" providerId="ADAL" clId="{030C634B-D829-48B2-A184-820323E3FA2A}" dt="2024-12-11T13:29:20.952" v="986"/>
          <ac:spMkLst>
            <pc:docMk/>
            <pc:sldMk cId="2428574211" sldId="912"/>
            <ac:spMk id="105" creationId="{EB1289B3-1C56-65F1-4CE2-D738AF9A8920}"/>
          </ac:spMkLst>
        </pc:spChg>
        <pc:spChg chg="mod ord topLvl">
          <ac:chgData name="uppys" userId="9cacfd68-f270-418a-9584-69c214d1619d" providerId="ADAL" clId="{030C634B-D829-48B2-A184-820323E3FA2A}" dt="2024-12-11T13:29:20.952" v="988"/>
          <ac:spMkLst>
            <pc:docMk/>
            <pc:sldMk cId="2428574211" sldId="912"/>
            <ac:spMk id="106" creationId="{D531F03B-94D3-8511-12A4-4A1CC7E7947B}"/>
          </ac:spMkLst>
        </pc:spChg>
        <pc:spChg chg="mod ord topLvl">
          <ac:chgData name="uppys" userId="9cacfd68-f270-418a-9584-69c214d1619d" providerId="ADAL" clId="{030C634B-D829-48B2-A184-820323E3FA2A}" dt="2024-12-11T13:29:20.953" v="990"/>
          <ac:spMkLst>
            <pc:docMk/>
            <pc:sldMk cId="2428574211" sldId="912"/>
            <ac:spMk id="107" creationId="{1D50211B-D01D-8826-EC22-C1FB684142D2}"/>
          </ac:spMkLst>
        </pc:spChg>
        <pc:spChg chg="mod ord topLvl">
          <ac:chgData name="uppys" userId="9cacfd68-f270-418a-9584-69c214d1619d" providerId="ADAL" clId="{030C634B-D829-48B2-A184-820323E3FA2A}" dt="2024-12-11T13:29:20.954" v="992"/>
          <ac:spMkLst>
            <pc:docMk/>
            <pc:sldMk cId="2428574211" sldId="912"/>
            <ac:spMk id="111" creationId="{2F04CA1E-5B52-9F92-AE99-85CA800B589E}"/>
          </ac:spMkLst>
        </pc:spChg>
        <pc:grpChg chg="del">
          <ac:chgData name="uppys" userId="9cacfd68-f270-418a-9584-69c214d1619d" providerId="ADAL" clId="{030C634B-D829-48B2-A184-820323E3FA2A}" dt="2024-12-11T13:28:34.651" v="876" actId="165"/>
          <ac:grpSpMkLst>
            <pc:docMk/>
            <pc:sldMk cId="2428574211" sldId="912"/>
            <ac:grpSpMk id="7" creationId="{1A35593F-B821-2A72-0E19-BCF77A550D6A}"/>
          </ac:grpSpMkLst>
        </pc:grpChg>
        <pc:grpChg chg="mod ord topLvl">
          <ac:chgData name="uppys" userId="9cacfd68-f270-418a-9584-69c214d1619d" providerId="ADAL" clId="{030C634B-D829-48B2-A184-820323E3FA2A}" dt="2024-12-11T13:29:20.985" v="1062"/>
          <ac:grpSpMkLst>
            <pc:docMk/>
            <pc:sldMk cId="2428574211" sldId="912"/>
            <ac:grpSpMk id="60" creationId="{EC615D25-C329-F090-5CDE-DE41C0495C4F}"/>
          </ac:grpSpMkLst>
        </pc:grpChg>
        <pc:grpChg chg="mod ord topLvl">
          <ac:chgData name="uppys" userId="9cacfd68-f270-418a-9584-69c214d1619d" providerId="ADAL" clId="{030C634B-D829-48B2-A184-820323E3FA2A}" dt="2024-12-11T13:29:20.988" v="1070"/>
          <ac:grpSpMkLst>
            <pc:docMk/>
            <pc:sldMk cId="2428574211" sldId="912"/>
            <ac:grpSpMk id="96" creationId="{3D451561-F012-40F7-1947-A226A1E7561D}"/>
          </ac:grpSpMkLst>
        </pc:grpChg>
        <pc:graphicFrameChg chg="mod">
          <ac:chgData name="uppys" userId="9cacfd68-f270-418a-9584-69c214d1619d" providerId="ADAL" clId="{030C634B-D829-48B2-A184-820323E3FA2A}" dt="2024-12-11T13:29:20.991" v="1078"/>
          <ac:graphicFrameMkLst>
            <pc:docMk/>
            <pc:sldMk cId="2428574211" sldId="912"/>
            <ac:graphicFrameMk id="6" creationId="{0128B79C-3460-97AC-4B49-0ED45D9C1CF1}"/>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Source Sans Pro" panose="020B0503030403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Source Sans Pro" panose="020B0503030403020204" pitchFamily="34" charset="0"/>
              </a:rPr>
              <a:t>‹#›</a:t>
            </a:fld>
            <a:endParaRPr lang="de-DE">
              <a:latin typeface="Source Sans Pro" panose="020B0503030403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01:48.402"/>
    </inkml:context>
    <inkml:brush xml:id="br0">
      <inkml:brushProperty name="width" value="0.035" units="cm"/>
      <inkml:brushProperty name="height" value="0.035" units="cm"/>
    </inkml:brush>
  </inkml:definitions>
  <inkml:trace contextRef="#ctx0" brushRef="#br0">0 1806 24575,'0'0'0,"0"0"0,0 0 0,11-1 0,30-11 0,59-23 0,-38 11 0,-42 17 0,0-2 0,-1 0 0,0-2 0,-1 0 0,18-14 0,-8 2 0,0-1 0,27-32 0,3-16 0,-26 30 0,64-87 0,37-45 0,-70 108 0,-49 53 0,0 1 0,30-19 0,-38 27 0,0 1 0,0 0 0,0 0 0,0 1 0,11-4 0,-13 6 0,-1-1 0,1 1 0,0-1 0,0 1 0,0 0 0,-1 1 0,1-1 0,0 1 0,0-1 0,-1 1 0,6 2 0,2 2 0,1 0 0,-2 1 0,1 0 0,10 7 0,37 34 0,12 7 0,-62-49 0,0 0 0,0-1 0,1-1 0,-1 1 0,1-1 0,0-1 0,0 1 0,0-1 0,0-1 0,0 0 0,1 0 0,-1-1 0,0 0 0,0-1 0,1 0 0,-1 0 0,0-1 0,10-3 0,-5 0 0,0 0 0,0-1 0,0-1 0,-1 0 0,0-1 0,-1 0 0,1-1 0,-2 0 0,1-1 0,14-16 0,-20 19 0,-3 3 0,0 1 0,0-1 0,0 1 0,1-1 0,-1 1 0,1 0 0,0 1 0,0-1 0,0 1 0,8-4 0,-5 4 0,0-1 0,0 0 0,6-5 0,-7 5 0,-1 0 0,1 0 0,1 0 0,8-2 0,-7 4 0,-1-1 0,0 0 0,0 0 0,0-1 0,0 0 0,0 0 0,0 0 0,-1-1 0,11-8 0,-2-1 0,1-1 0,0 1 0,28-18 0,-33 24 0,0-1 0,17-16 0,-18 15 0,-1 1 0,1 0 0,12-7 0,-20 14 0,0 0 0,0 0 0,1 0 0,-1 1 0,0-1 0,0 0 0,0 1 0,0 0 0,1-1 0,-1 1 0,0 0 0,1 0 0,-1 0 0,0 0 0,3 1 0,-2 0 0,0 0 0,1 0 0,-1 1 0,0-1 0,0 1 0,-1-1 0,1 1 0,0 0 0,3 3 0,3 4 0,-1 1 0,0-1 0,0 1 0,8 14 0,-15-22 0,5 8 0,1-1 0,11 13 0,-14-18 0,0 0 0,0-1 0,0 0 0,0 0 0,1 0 0,-1 0 0,10 3 0,0 0 0,0-1 0,1-1 0,26 6 0,-35-10 0,0 1 0,0-1 0,0 0 0,0 0 0,0 0 0,0-1 0,0 0 0,0-1 0,0 1 0,0-1 0,0 0 0,7-4 0,0-2 0,-1 0 0,17-15 0,13-9 0,-37 29 0,0 0 0,1 0 0,-1 0 0,1 1 0,0 0 0,8-2 0,-12 3 0,-1 1 0,1-1 0,0 1 0,-1 0 0,1 0 0,0 0 0,-1 0 0,1 0 0,0 1 0,-1-1 0,1 0 0,-1 1 0,1-1 0,0 1 0,-1-1 0,1 1 0,-1 0 0,2 1 0,0 0 0,-1 0 0,0 0 0,0 1 0,0-1 0,0 1 0,0-1 0,0 1 0,1 5 0,7 11 0,-2 1 0,7 25 0,7 42 0,-1-3 0,15 26 0,15 55 0,-44-134 0,2 0 0,1 0 0,2-1 0,1 0 0,1-1 0,1 0 0,24 32 0,-29-48 0,0 0 0,0-1 0,23 19 0,-25-24 0,1-1 0,0 0 0,1 0 0,-1-1 0,1 0 0,16 5 0,-10-5 0,0-1 0,0-1 0,1 0 0,0-2 0,-1 0 0,29-1 0,-8-4 0,70-15 0,-80 13 0,-1-2 0,0 0 0,-1-2 0,0-1 0,27-16 0,-38 19 0,-1-1 0,-1 0 0,1-1 0,-2 0 0,1-1 0,-1 0 0,-1-1 0,0 0 0,-1-1 0,11-18 0,-17 25 0,-1 1 0,0-1 0,0 1 0,0-1 0,-1 1 0,1-9 0,0-36 0,-2 35 0,4-26 0,-2 30 0,1 0 0,0 0 0,1 0 0,1 1 0,-1-1 0,2 1 0,-1 1 0,1-1 0,1 1 0,12-15 0,-8 12 0,1 1 0,0 0 0,0 1 0,1 1 0,0-1 0,1 2 0,14-7 0,19-3 0,-34 14 0,-1-1 0,0 0 0,20-11 0,-28 12 0,0 1 0,0-1 0,0 0 0,0 1 0,-1-2 0,0 1 0,0 0 0,0-1 0,0 1 0,2-7 0,2-8 0,8-24 0,-6 9 0,9-64 0,-5-36 0,-7 49 0,23-145 0,-20 185 0,1 1 0,3 1 0,19-48 0,28-35 0,-48 104 0,1 1 0,1 0 0,26-28 0,-36 44 0,0 1 0,0 1 0,1-1 0,-1 0 0,8-3 0,-11 6 0,0 0 0,0 1 0,0-1 0,0 1 0,0 0 0,0-1 0,0 1 0,0 0 0,0-1 0,0 1 0,0 0 0,0 0 0,0 0 0,1 0 0,-1 0 0,0 0 0,0 0 0,0 0 0,0 1 0,0-1 0,0 0 0,0 1 0,0-1 0,0 1 0,0-1 0,0 1 0,0-1 0,-1 1 0,1 0 0,0-1 0,0 1 0,0 0 0,-1-1 0,1 1 0,0 0 0,0 2 0,2 3 0,0 0 0,0 0 0,0 0 0,2 12 0,4 28 0,-7-32 0,11 68 0,13 59 0,-20-118 0,1-1 0,0 1 0,2-1 0,13 23 0,-15-32 0,1-1 0,0 0 0,1 0 0,0-1 0,14 14 0,-15-18 0,0 0 0,0-1 0,1 0 0,0-1 0,0 0 0,1 0 0,-1 0 0,12 2 0,23 5 0,-29-8 0,0 0 0,-1 1 0,24 10 0,-36-14 0,0 0 0,0 0 0,0 1 0,0-1 0,-1 0 0,1 1 0,0-1 0,-1 1 0,1 0 0,-1 0 0,1 0 0,-1-1 0,0 1 0,0 0 0,0 1 0,0-1 0,0 0 0,0 0 0,0 0 0,-1 1 0,1-1 0,-1 4 0,3 6 0,-1 0 0,2 1 0,-1-2 0,12 24 0,-10-22 0,-3-8 0,1-1 0,-1 1 0,1 0 0,0-1 0,1 1 0,-1-1 0,0 0 0,1 0 0,0 0 0,0-1 0,0 0 0,1 1 0,6 2 0,0 0 0,0-1 0,1 0 0,0-1 0,20 4 0,0-1 0,-22-6 0,1 1 0,0 1 0,-1 0 0,1 0 0,16 9 0,-24-11 0,-1 1 0,0 0 0,1 0 0,-1 0 0,0 0 0,0 0 0,0 0 0,0 1 0,-1-1 0,1 1 0,0-1 0,-1 1 0,0-1 0,0 1 0,0 0 0,0 0 0,1 5 0,0 3 0,-1 1 0,0-1 0,-1 16 0,0 1 0,0-25 0,4 45 0,-4-43 0,1-1 0,0 1 0,1-1 0,-1 0 0,1 1 0,0-1 0,0 0 0,3 6 0,-3-8 0,0-1 0,0 1 0,0 0 0,0-1 0,0 1 0,0-1 0,0 0 0,1 0 0,-1 1 0,0-2 0,1 1 0,-1 0 0,1 0 0,-1-1 0,1 1 0,-1-1 0,4 0 0,4 0 0,-1 0 0,1 0 0,11-3 0,-6 0 0,1-1 0,-1 0 0,-1-1 0,1-1 0,15-8 0,68-44 0,-66 37 0,-16 11 0,-11 6 0,0 1 0,0 0 0,0 0 0,0 0 0,1 0 0,-1 1 0,7-2 0,-10 4 0,0 0 0,0 0 0,0 0 0,-1 0 0,1 0 0,0 0 0,0 1 0,-1-1 0,1 1 0,0 0 0,1 0 0,19 11 0,-17-8 0,-3-4 0,3 4 0,0-1 0,0-1 0,0 1 0,1-1 0,0 0 0,8 3 0,-2-4 0,1 1 0,-1-1 0,1-1 0,16-1 0,-17-2-1365</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03:25.863"/>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0 0 0,'0'1376'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29.771"/>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305 75,'-11'-1,"-1"0,-16-4,16 3,-1 0,-14-1,9 4,6-1,-18-2,26 2,0-1,-1 0,1 0,1 0,-1-1,0 0,0 1,-4-4,-5-4,11 7,0 0,-1 0,0 0,1 1,-1-1,0 1,0-1,0 1,0 0,0 0,0 1,0-1,-4 0,-2 1,6 1,0-1,0 0,0-1,-4 1,6-1,0 1,0 0,0-1,1 1,-1 0,0-1,0 1,0-1,1 1,-1-1,0 1,1-1,-1 0,0 1,1-1,-1 0,1 1,-1-1,0-1,-1-4</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31.453"/>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1 0,'0'20,"-1"-12,1 1,0-1,1 0,0 1,3 13,-4-21,1 0,0 1,0-1,0 0,0 0,0 0,0 0,0-1,0 1,0 0,1 0,-1-1,0 1,0 0,1-1,-1 0,0 1,3 0,8 3,7 4,-15-7,-1 0,1 0,-1 1,0-1,0 1,0 0,0 0,0 0,0 0,4 5,-3-3,-1 1,1-1,0 0,1-1,-1 1,1-1,-1 1,1-1,0-1,0 1,10 3,5 3,-16-6</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33.218"/>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194 170,'-2'1,"0"-1,1 1,-1 0,0-1,0 1,0-1,1 0,-1 1,0-1,0 0,0 0,-3-1,0 1,-13 0,-99 0,117 0,-1 0,0 0,1 0,-1 0,0-1,1 1,-1 0,1 0,-1-1,1 1,-1 0,0 0,1-1,-1 1,1-1,-1 1,1-1,0 1,-1 0,1-1,-1 1,1-1,0 0,-1 1,1-1,0 1,0-1,-1 0,1-3,-1 1,0-1,1 1,0-6,-1-5,-1 0,1-1,0-24,0-10,-1 42,0 5,3 5</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39.222"/>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1 169,'1'-2,"1"0,-1 0,0-1,1 1,-1 0,0 0,1-5,4-6,-4 8,0 1,0-1,0 1,-1-1,1 0,-1 1,0-1,0-6,-1-6,0-17,-1 6,1 2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40.816"/>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44 0,'-8'25,"1"0,2 0,-5 39,9-52,-8 82,5 127,8-171,1-1,12 50,-9-60,-3-2,2 58,-7 39,-2-44,2-24,0-59</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42.327"/>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0 0,'0'554,"1"-538,0-11</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49.471"/>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511 53,'-2'9,"1"-1,0 1,0-1,1 1,1 8,-1 2,0 477,1-491,-1 1,1 0,1 0,-1 0,1-1,4 11,-4-10,1 0,-1 0,0 0,-1 0,2 11,-2 5,2 80,-3-97,1 0,-1 0,3 7,1 11,1 12,-3-23,1 21,0 82,-2-104,-2 1,1-1,-3 14,2-20,0 0,-1 0,0 0,0 0,0 0,0 0,-1-1,0 1,-3 4,2-4,0 1,0-1,1 1,-5 10,8-16,0 1,-1-1,1 0,0 0,0 1,0-1,0 0,0 1,0-1,0 0,-1 0,1 0,0 1,0-1,0 0,-1 0,1 0,0 1,0-1,-1 0,1 0,0 0,0 0,-1 0,1 0,0 1,0-1,-1 0,1 0,0 0,0 0,-1 0,0 0,1-1,-1 1,0 0,1-1,-1 1,1-1,-1 1,1 0,-1-1,1 1,-1-1,0 0,-10-19,-44-93,28 57,18 38,1 0,-21-32,24 40,0 1,0-1,1-1,0 1,1-1,-2-11,-1-1,-1-4,1 0,1 0,2 0,-1-54,5 55,-1-68,-2 76,1 0,-2 0,-6-21,-4-3,6 25,2-1,0 0,-3-30,7 46,1 0,-1 0,1 0,-1-1,1 1,-1 0,0 0,0 0,0 1,0-1,-2-2,-2-2,0 1,-6-5,7 5,-1 1,1 0,-4-7,1 1,2-1,-1 0,1 0,1 0,0 0,1-1,0 0,1 0,-2-20,2 11,3-42,-1 62,0-1,1 1,-1 0,0-1,1 1,-1 0,1 0,-1 0,1-1,0 1,-1 0,1 0,0 0,0 0,0 0,0 0,0 0,0 0,0 1,0-1,0 0,0 0,1 1,-1-1,0 1,0-1,1 1,-1 0,2-1,2 0,-1 1,1-1,0 1,-1 0,1 0,0 1,5 0,-6 0,0 0,0 0,0 0,0 1,0 0,0-1,0 1,-1 1,1-1,-1 0,0 1,1 0,4 5,-5-3,-1 0,1 0,-1 0,0 0,-1 0,1 0,-1 0,0 0,1 7,-2 6,-1 25,1-41,0 1,0-1,-1 0,0 0,1 0,-1 0,0 0,0 1,0-2,0 1,-2 3,-2 1,-1 0,-5 6,7-9,0 1,0 0,0 0,1 0,0 0,-3 5,5-7,1-1,-1 0,1 0,0 1,-1-1,1 0,0 1,0-1,0 0,0 1,0-1,0 0,0 3,8 15,-7-16,1 1,-1-1,0 0,0 1,1 5,-1-3,-1 0,-1 0,1 0,-1 1,0-1,0 0,-1-1,-2 8,-1-2,1-1,-1-1,-11 17,8-15,-1 0,-1 0,0-1,-22 18,30-26,-1-1,1 1,0 0,0 0,0 0,0 0,0 0,1 0,-1 1,-1 2,-16 28,9-18,-9 21,9-17,7-12,-1 0,1 0,-3 10,4-11,0 0,-1 0,-6 11,6-13,1 1,-1-1,1 1,0 0,0 0,1 0,0 0,-2 7,3-8,0 0,0 1,0-1,0 1,0-1,1 0,0 1,0-1,0 0,3 6,-3-6,1 0,-1 0,-1 0,1 0,-1 0,1 0,-1 0,-1 7,1-7,0 1,0-1,0 0,0 0,1 1,0-1,1 7,0-5,0-1,1 10,3 9,-5-23,-1 0,1 0,-1 0,1 0,0-1,-1 1,1 0,0-1,0 1,-1 0,1-1,0 1,0-1,0 1,0-1,0 0,0 1,0-1,0 0,0 0,1 0,5 1,-1 0,9-1,-8-1,-6 1,137-1,-136 1,0 0,0 0,0-1,0 1,0-1,-1 1,1-1,0 0,0 1,0-1,0 0,-1 0,1 0,0-1,-1 1,1 0,-1-1,1 1,-1-1,2-1,-2 0,1 0,-1 0,0 0,1 0,-1 0,-1 0,1-1,0 1,-1 0,0 0,1-6,-2 1,1 0,-1-1,0 1,-1 0,0 0,-4-11,4 14,0 0,0 0,-1 1,0-1,0 1,0-1,0 1,-1 0,0 0,-7-6,8 9,1-1,-1 1,1 0,-1 0,0 0,1 0,-1 1,0-1,0 1,0 0,-3-1,-6 1,-14 2,13-1,17-1,1 0,0-1,-1 1,1-1,-1-1,1 1,4-3,4-2,12-8,-14 8,18-9,-28 15,0-1,0 1,0-1,0 1,0-1,0 0,0 1,0-1,0 0,0 0,-1 0,1 0,0 0,-1 0,1 0,0 0,-1 0,1 0,-1 0,0 0,1 0,-1-2,1-1,-1-1,0 1,0-1,0-6,-1-1,0-18,0-24,1 53,0 1,-1-1,1 0,0 0,0 0,-1 1,1-1,-1 0,1 1,0-1,-1 0,1 1,-1-1,0 0,1 1,-1-1,1 1,-1-1,0 1,0-1,1 1,-1 0,0-1,1 1,-1 0,0 0,0-1,0 1,1 0,-1 0,-1 0,-4 0,0 0,0 0,-9 1,6 0,8-1,0 0,0 0,1 0,-1 0,0 0,1 0,-1 0,0 0,0 0,1 0,-1 0,0-1,1 1,-1 0,0 0,1-1,-1 1,1-1,-1 1,0 0,1-1,-1 1,1-1,-1 1,1-1,0 0,-1 0,0 0,1-1,0 1,-1-1,1 1,0-1,0 1,0-1,0 1,0-1,0 1,1-1,0 0,13-59,-13 57,1-1,0 0,0 1,0-1,4-5,-3 6,-1 1,0 0,-1-1,1 0,0 1,-1-1,0 0,0 0,1-5,-3-3,1 8,0 0,0 0,0 0,1-5,-1 9,0-1,1 0,-1 1,0-1,0 1,0-1,1 0,-1 1,0-1,0 1,1-1,-1 1,0-1,1 1,-1-1,1 1,-1 0,1-1,-1 1,1-1,-1 1,1 0,-1 0,1-1,0 1,-1 0,1 0,-1 0,1-1,0 1,-1 0,2 0,-2 0,1 1,0-1,-1 0,1 0,0 1,-1-1,1 0,-1 1,1-1,0 0,-1 1,1-1,-1 1,1-1,-1 1,0-1,1 1,-1-1,1 1,-1 0,0-1,1 1,-1-1,0 1,0 0,0-1,0 1,1 0,-1 0,2 21,-3 18,0-25,0-1,3 27,1-31,0 1,0 0,1-1,6 11,2 7,33 87,58 151,-88-213,-14-51,0 0,0-1,0 1,0-1,0 1,1-1,-1 1,0-1,1 0,-1 1,1-1,2 1,24 12,-18-10,1 2</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55.104"/>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580 1,'-34'0,"3"-1,0 2,1 1,-34 6,54-7,1 0,-1 0,-9-1,9 0,1 0,-1 1,-9 1,6 1,-2 1,1-2,-1 1,-20-1,7-3,7 1,-21 1,41-1,0 0,0 1,0-1,1 0,-1 1,0-1,0 0,0 1,1-1,-1 1,0 0,0-1,1 1,-1-1,1 1,-1 0,0 0,1-1,-1 1,1 0,0 0,-1 0,1-1,0 1,-1 0,1 0,0 0,0 0,0 0,0 0,0 1,-1 4,1 1,0 0,2 8,-1-6,4 57,-4-62,0 0,1 0,-1 0,1-1,-1 1,1-1,0 1,1-1,-1 0,6 6,8 13,-8-2,-7-17,0 1,0-1,1 1,3 4,-5-7,1 0,0 0,0 0,-1 0,1 0,0-1,0 1,0 0,0-1,0 1,0 0,0-1,1 0,-1 1,0-1,0 0,0 1,3-1,73 1,-36-2,-39 1,1 0,-1 1,0-1,1 1,-1 0,0 0,1 0,3 2,-3-2,-1 1,1-1,0 0,0 0,0 0,3 0,71 3,-26-3,-34-2,20 2,-18 4,-18-5,1 1,-1-1,0 1,0-1,0 1,0-1,0 1,0 0,0 0,0-1,0 1,-1 0,2 1,-2-2,0 1,0-1,0 0,0 0,1 0,-1 0,0 0,0 0,0 0,0 1,0-1,0 0,0 0,0 0,0 0,0 0,0 0,0 1,0-1,-1 0,1 0,0 0,0 0,0 0,0 0,0 0,0 0,0 1,0-1,0 0,0 0,0 0,0 0,-1 0,1 0,0 0,-6 2,-9-1,14-1,-5 0,0 1,0-1,0 1,1 1,-1-1,-11 5,8-4,1 0,-1-1,0 1,0-2,0 1,0-1,-11-2,-6 2,-69 0,-82-1,114-3,59 4,1-1,-1 1,1-1,-1 0,1 0,-5-1,-2-2,5 3</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4:00.111"/>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1 1,'0'150,"0"-142,1 0,1 0,-1 0,5 9,-1-1,4 27,-5 13,-2-13,-1-42,-1 1,0-1,1 1,0-1,-1 1,1-1,0 0,0 1,-1-1,1 0,0 0,0 1,1-1,-1 0,0 0,0 0,0 0,1 0,-1-1,1 1,-1 0,0-1,3 2,3 0,0 0,0 0,14 1,-2-2,-10 0,-1-1,10 3,-11-2,-1 0,1 0,6-1,-8 0,0 0,0 0,-1 1,1-1,0 1,8 3,1 1,1-1,26 4,-19-3,4-2,-21-3,0 0,-1 1,1 0,0 0,-1 0,1 0,-1 1,1-1,3 3,-5-2,0-1,0 0,0 0,0 0,0 0,0 0,0-1,4 1,-4-1,1 0,-1 1,0 0,1 0,-1 0,4 1,-4 0,-2-2,0 1,1-1,-1 1,0-1,0 1,0 0,0 0,0-1,0 1,0 0,0 0,-1 0,1 0,0 0,0 0,-1 0,1 0,0 2,0 0,0 0,1-1,-1 1,0-1,1 1,0-1,-1 0,4 4,-4-5,1 0,-1 0,1 0,0 0,-1 0,1 0,0-1,-1 1,1 0,0-1,0 0,-1 1,1-1,2 0,0 0,-1 0,-1 0,1 1,0-1,-1 0,1 1,-1-1,1 1,-1 0,0 0,1 0,-1 0,0 0,3 2,4 2,-7-4,-1 0,1 0,-1 0,0-1,1 1,-1 1,0-1,0 0,1 0,0 2,0 2</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02:04.076"/>
    </inkml:context>
    <inkml:brush xml:id="br0">
      <inkml:brushProperty name="width" value="0.035" units="cm"/>
      <inkml:brushProperty name="height" value="0.035" units="cm"/>
    </inkml:brush>
  </inkml:definitions>
  <inkml:trace contextRef="#ctx0" brushRef="#br0">0 1806 24575,'0'0'0,"0"0"0,0 0 0,11-1 0,30-11 0,59-23 0,-38 11 0,-42 17 0,0-2 0,-1 0 0,0-2 0,-1 0 0,18-14 0,-8 2 0,0-1 0,27-32 0,3-16 0,-26 30 0,64-87 0,37-45 0,-70 108 0,-49 53 0,0 1 0,30-19 0,-38 27 0,0 1 0,0 0 0,0 0 0,0 1 0,11-4 0,-13 6 0,-1-1 0,1 1 0,0-1 0,0 1 0,0 0 0,-1 1 0,1-1 0,0 1 0,0-1 0,-1 1 0,6 2 0,2 2 0,1 0 0,-2 1 0,1 0 0,10 7 0,37 34 0,12 7 0,-62-49 0,0 0 0,0-1 0,1-1 0,-1 1 0,1-1 0,0-1 0,0 1 0,0-1 0,0-1 0,0 0 0,1 0 0,-1-1 0,0 0 0,0-1 0,1 0 0,-1 0 0,0-1 0,10-3 0,-5 0 0,0 0 0,0-1 0,0-1 0,-1 0 0,0-1 0,-1 0 0,1-1 0,-2 0 0,1-1 0,14-16 0,-20 19 0,-3 3 0,0 1 0,0-1 0,0 1 0,1-1 0,-1 1 0,1 0 0,0 1 0,0-1 0,0 1 0,8-4 0,-5 4 0,0-1 0,0 0 0,6-5 0,-7 5 0,-1 0 0,1 0 0,1 0 0,8-2 0,-7 4 0,-1-1 0,0 0 0,0 0 0,0-1 0,0 0 0,0 0 0,0 0 0,-1-1 0,11-8 0,-2-1 0,1-1 0,0 1 0,28-18 0,-33 24 0,0-1 0,17-16 0,-18 15 0,-1 1 0,1 0 0,12-7 0,-20 14 0,0 0 0,0 0 0,1 0 0,-1 1 0,0-1 0,0 0 0,0 1 0,0 0 0,1-1 0,-1 1 0,0 0 0,1 0 0,-1 0 0,0 0 0,3 1 0,-2 0 0,0 0 0,1 0 0,-1 1 0,0-1 0,0 1 0,-1-1 0,1 1 0,0 0 0,3 3 0,3 4 0,-1 1 0,0-1 0,0 1 0,8 14 0,-15-22 0,5 8 0,1-1 0,11 13 0,-14-18 0,0 0 0,0-1 0,0 0 0,0 0 0,1 0 0,-1 0 0,10 3 0,0 0 0,0-1 0,1-1 0,26 6 0,-35-10 0,0 1 0,0-1 0,0 0 0,0 0 0,0 0 0,0-1 0,0 0 0,0-1 0,0 1 0,0-1 0,0 0 0,7-4 0,0-2 0,-1 0 0,17-15 0,13-9 0,-37 29 0,0 0 0,1 0 0,-1 0 0,1 1 0,0 0 0,8-2 0,-12 3 0,-1 1 0,1-1 0,0 1 0,-1 0 0,1 0 0,0 0 0,-1 0 0,1 0 0,0 1 0,-1-1 0,1 0 0,-1 1 0,1-1 0,0 1 0,-1-1 0,1 1 0,-1 0 0,2 1 0,0 0 0,-1 0 0,0 0 0,0 1 0,0-1 0,0 1 0,0-1 0,0 1 0,1 5 0,7 11 0,-2 1 0,7 25 0,7 42 0,-1-3 0,15 26 0,15 55 0,-44-134 0,2 0 0,1 0 0,2-1 0,1 0 0,1-1 0,1 0 0,24 32 0,-29-48 0,0 0 0,0-1 0,23 19 0,-25-24 0,1-1 0,0 0 0,1 0 0,-1-1 0,1 0 0,16 5 0,-10-5 0,0-1 0,0-1 0,1 0 0,0-2 0,-1 0 0,29-1 0,-8-4 0,70-15 0,-80 13 0,-1-2 0,0 0 0,-1-2 0,0-1 0,27-16 0,-38 19 0,-1-1 0,-1 0 0,1-1 0,-2 0 0,1-1 0,-1 0 0,-1-1 0,0 0 0,-1-1 0,11-18 0,-17 25 0,-1 1 0,0-1 0,0 1 0,0-1 0,-1 1 0,1-9 0,0-36 0,-2 35 0,4-26 0,-2 30 0,1 0 0,0 0 0,1 0 0,1 1 0,-1-1 0,2 1 0,-1 1 0,1-1 0,1 1 0,12-15 0,-8 12 0,1 1 0,0 0 0,0 1 0,1 1 0,0-1 0,1 2 0,14-7 0,19-3 0,-34 14 0,-1-1 0,0 0 0,20-11 0,-28 12 0,0 1 0,0-1 0,0 0 0,0 1 0,-1-2 0,0 1 0,0 0 0,0-1 0,0 1 0,2-7 0,2-8 0,8-24 0,-6 9 0,9-64 0,-5-36 0,-7 49 0,23-145 0,-20 185 0,1 1 0,3 1 0,19-48 0,28-35 0,-48 104 0,1 1 0,1 0 0,26-28 0,-36 44 0,0 1 0,0 1 0,1-1 0,-1 0 0,8-3 0,-11 6 0,0 0 0,0 1 0,0-1 0,0 1 0,0 0 0,0-1 0,0 1 0,0 0 0,0-1 0,0 1 0,0 0 0,0 0 0,0 0 0,1 0 0,-1 0 0,0 0 0,0 0 0,0 0 0,0 1 0,0-1 0,0 0 0,0 1 0,0-1 0,0 1 0,0-1 0,0 1 0,0-1 0,-1 1 0,1 0 0,0-1 0,0 1 0,0 0 0,-1-1 0,1 1 0,0 0 0,0 2 0,2 3 0,0 0 0,0 0 0,0 0 0,2 12 0,4 28 0,-7-32 0,11 68 0,13 59 0,-20-118 0,1-1 0,0 1 0,2-1 0,13 23 0,-15-32 0,1-1 0,0 0 0,1 0 0,0-1 0,14 14 0,-15-18 0,0 0 0,0-1 0,1 0 0,0-1 0,0 0 0,1 0 0,-1 0 0,12 2 0,23 5 0,-29-8 0,0 0 0,-1 1 0,24 10 0,-36-14 0,0 0 0,0 0 0,0 1 0,0-1 0,-1 0 0,1 1 0,0-1 0,-1 1 0,1 0 0,-1 0 0,1 0 0,-1-1 0,0 1 0,0 0 0,0 1 0,0-1 0,0 0 0,0 0 0,0 0 0,-1 1 0,1-1 0,-1 4 0,3 6 0,-1 0 0,2 1 0,-1-2 0,12 24 0,-10-22 0,-3-8 0,1-1 0,-1 1 0,1 0 0,0-1 0,1 1 0,-1-1 0,0 0 0,1 0 0,0 0 0,0-1 0,0 0 0,1 1 0,6 2 0,0 0 0,0-1 0,1 0 0,0-1 0,20 4 0,0-1 0,-22-6 0,1 1 0,0 1 0,-1 0 0,1 0 0,16 9 0,-24-11 0,-1 1 0,0 0 0,1 0 0,-1 0 0,0 0 0,0 0 0,0 0 0,0 1 0,-1-1 0,1 1 0,0-1 0,-1 1 0,0-1 0,0 1 0,0 0 0,0 0 0,1 5 0,0 3 0,-1 1 0,0-1 0,-1 16 0,0 1 0,0-25 0,4 45 0,-4-43 0,1-1 0,0 1 0,1-1 0,-1 0 0,1 1 0,0-1 0,0 0 0,3 6 0,-3-8 0,0-1 0,0 1 0,0 0 0,0-1 0,0 1 0,0-1 0,0 0 0,1 0 0,-1 1 0,0-2 0,1 1 0,-1 0 0,1 0 0,-1-1 0,1 1 0,-1-1 0,4 0 0,4 0 0,-1 0 0,1 0 0,11-3 0,-6 0 0,1-1 0,-1 0 0,-1-1 0,1-1 0,15-8 0,68-44 0,-66 37 0,-16 11 0,-11 6 0,0 1 0,0 0 0,0 0 0,0 0 0,1 0 0,-1 1 0,7-2 0,-10 4 0,0 0 0,0 0 0,0 0 0,-1 0 0,1 0 0,0 0 0,0 1 0,-1-1 0,1 1 0,0 0 0,1 0 0,19 11 0,-17-8 0,-3-4 0,3 4 0,0-1 0,0-1 0,0 1 0,1-1 0,0 0 0,8 3 0,-2-4 0,1 1 0,-1-1 0,1-1 0,16-1 0,-17-2-1365</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4:03.202"/>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336 205,'-1'1,"1"-1,0 1,0 0,0 0,-1-1,1 1,0 0,-1-1,1 1,-1-1,1 1,0 0,-1-1,1 1,-1-1,0 1,1-1,-1 0,1 1,-1-1,0 1,1-1,-1 0,0 0,1 1,-1-1,-1 0,-2 1,-1 0,1 0,-6-1,-71 1,35-2,44 1,-1 0,1 0,-1-1,0 1,1-1,-1 1,1-1,-1 0,1 0,-1 0,1 0,-1 0,1-1,0 1,-3-4,2 3,0-1,1 0,0 0,0-1,-1 1,2 0,-1-1,0 1,-1-7,0-3,0 0,1 0,0-1,1 1,1-15,1 11,-1 5,-1-16,1 27,0 1,0-1,0 0,-1 0,1 1,0-1,-1 0,1 0,-1 1,1-1,-1 0,1 1,-1-1,0 1,1-1,-1 0,0 1,1 0,-1-1,0 1,1-1,-1 1,0 0,0-1,0 1,1 0,-1 0,0 0,0 0,-1 0,-4-1,0 1,0 0,-8 1,3 0,-15-1,2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4:05.404"/>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101 0,'-2'0,"-1"0,-2 0,-1 0,-1 0,0 0,-1 0,1 0,-2 0,0 0,0 0,0 0,1 0,1 1,3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05:28.615"/>
    </inkml:context>
    <inkml:brush xml:id="br0">
      <inkml:brushProperty name="width" value="0.035" units="cm"/>
      <inkml:brushProperty name="height" value="0.035" units="cm"/>
      <inkml:brushProperty name="color" value="#33CCFF"/>
    </inkml:brush>
  </inkml:definitions>
  <inkml:trace contextRef="#ctx0" brushRef="#br0">1 579 24575,'0'-14'0,"0"-3"0,1 0 0,0 0 0,7-30 0,-2 29 0,0 0 0,15-29 0,-15 35 0,0-2 0,-2 0 0,7-23 0,4-16 0,-2 12 0,-8 26 0,9-23 0,3-8 0,1 1 0,-15 39 0,0 0 0,0 1 0,1-1 0,-1 1 0,8-8 0,-9 11 0,1-1 0,0-1 0,1 1 0,7-5 0,-9 6 0,0 2 0,0-1 0,0 0 0,0 0 0,0 1 0,0-1 0,0 1 0,0-1 0,0 1 0,0 0 0,3 0 0,7 0 0,-8-1 0,0 1 0,0 0 0,-1 0 0,1 1 0,0-1 0,0 1 0,-1 0 0,1 0 0,6 2 0,18 12 0,-24-13 0,1 1 0,8 3 0,-3-2 0,-2-1 0,-2 0 0,0 0 0,0 0 0,0 0 0,7 6 0,-5-2 0,0 1 0,0 0 0,0 1 0,-1 0 0,-1 0 0,12 19 0,-7-10 0,-6-12 0,6 14 0,-9-16 0,-1 0 0,1 0 0,0-1 0,0 1 0,0-1 0,1 1 0,-1-1 0,1 0 0,0 0 0,0 0 0,0 0 0,0-1 0,0 1 0,1-1 0,-1 0 0,1 0 0,5 2 0,-3-1 0,1 0 0,-1 0 0,10 6 0,-14-7 0,1-1 0,-1 1 0,0 1 0,0-1 0,0 0 0,0 0 0,-1 1 0,1-1 0,-1 1 0,1-1 0,1 5 0,-1-1 0,1 1 0,0 0 0,0 0 0,0 0 0,1 0 0,0-1 0,7 9 0,-8-11 0,-1 0 0,0 0 0,1 0 0,-1 0 0,-1 1 0,3 5 0,0 1 0,0 7 109,-4-16-404,1 1 1,-1 0-1,1 0 0,1 4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09:17.667"/>
    </inkml:context>
    <inkml:brush xml:id="br0">
      <inkml:brushProperty name="width" value="0.035" units="cm"/>
      <inkml:brushProperty name="height" value="0.035" units="cm"/>
    </inkml:brush>
  </inkml:definitions>
  <inkml:trace contextRef="#ctx0" brushRef="#br0">0 1806 24575,'0'0'0,"0"0"0,0 0 0,11-1 0,30-11 0,59-23 0,-38 11 0,-42 17 0,0-2 0,-1 0 0,0-2 0,-1 0 0,18-14 0,-8 2 0,0-1 0,27-32 0,3-16 0,-26 30 0,64-87 0,37-45 0,-70 108 0,-49 53 0,0 1 0,30-19 0,-38 27 0,0 1 0,0 0 0,0 0 0,0 1 0,11-4 0,-13 6 0,-1-1 0,1 1 0,0-1 0,0 1 0,0 0 0,-1 1 0,1-1 0,0 1 0,0-1 0,-1 1 0,6 2 0,2 2 0,1 0 0,-2 1 0,1 0 0,10 7 0,37 34 0,12 7 0,-62-49 0,0 0 0,0-1 0,1-1 0,-1 1 0,1-1 0,0-1 0,0 1 0,0-1 0,0-1 0,0 0 0,1 0 0,-1-1 0,0 0 0,0-1 0,1 0 0,-1 0 0,0-1 0,10-3 0,-5 0 0,0 0 0,0-1 0,0-1 0,-1 0 0,0-1 0,-1 0 0,1-1 0,-2 0 0,1-1 0,14-16 0,-20 19 0,-3 3 0,0 1 0,0-1 0,0 1 0,1-1 0,-1 1 0,1 0 0,0 1 0,0-1 0,0 1 0,8-4 0,-5 4 0,0-1 0,0 0 0,6-5 0,-7 5 0,-1 0 0,1 0 0,1 0 0,8-2 0,-7 4 0,-1-1 0,0 0 0,0 0 0,0-1 0,0 0 0,0 0 0,0 0 0,-1-1 0,11-8 0,-2-1 0,1-1 0,0 1 0,28-18 0,-33 24 0,0-1 0,17-16 0,-18 15 0,-1 1 0,1 0 0,12-7 0,-20 14 0,0 0 0,0 0 0,1 0 0,-1 1 0,0-1 0,0 0 0,0 1 0,0 0 0,1-1 0,-1 1 0,0 0 0,1 0 0,-1 0 0,0 0 0,3 1 0,-2 0 0,0 0 0,1 0 0,-1 1 0,0-1 0,0 1 0,-1-1 0,1 1 0,0 0 0,3 3 0,3 4 0,-1 1 0,0-1 0,0 1 0,8 14 0,-15-22 0,5 8 0,1-1 0,11 13 0,-14-18 0,0 0 0,0-1 0,0 0 0,0 0 0,1 0 0,-1 0 0,10 3 0,0 0 0,0-1 0,1-1 0,26 6 0,-35-10 0,0 1 0,0-1 0,0 0 0,0 0 0,0 0 0,0-1 0,0 0 0,0-1 0,0 1 0,0-1 0,0 0 0,7-4 0,0-2 0,-1 0 0,17-15 0,13-9 0,-37 29 0,0 0 0,1 0 0,-1 0 0,1 1 0,0 0 0,8-2 0,-12 3 0,-1 1 0,1-1 0,0 1 0,-1 0 0,1 0 0,0 0 0,-1 0 0,1 0 0,0 1 0,-1-1 0,1 0 0,-1 1 0,1-1 0,0 1 0,-1-1 0,1 1 0,-1 0 0,2 1 0,0 0 0,-1 0 0,0 0 0,0 1 0,0-1 0,0 1 0,0-1 0,0 1 0,1 5 0,7 11 0,-2 1 0,7 25 0,7 42 0,-1-3 0,15 26 0,15 55 0,-44-134 0,2 0 0,1 0 0,2-1 0,1 0 0,1-1 0,1 0 0,24 32 0,-29-48 0,0 0 0,0-1 0,23 19 0,-25-24 0,1-1 0,0 0 0,1 0 0,-1-1 0,1 0 0,16 5 0,-10-5 0,0-1 0,0-1 0,1 0 0,0-2 0,-1 0 0,29-1 0,-8-4 0,70-15 0,-80 13 0,-1-2 0,0 0 0,-1-2 0,0-1 0,27-16 0,-38 19 0,-1-1 0,-1 0 0,1-1 0,-2 0 0,1-1 0,-1 0 0,-1-1 0,0 0 0,-1-1 0,11-18 0,-17 25 0,-1 1 0,0-1 0,0 1 0,0-1 0,-1 1 0,1-9 0,0-36 0,-2 35 0,4-26 0,-2 30 0,1 0 0,0 0 0,1 0 0,1 1 0,-1-1 0,2 1 0,-1 1 0,1-1 0,1 1 0,12-15 0,-8 12 0,1 1 0,0 0 0,0 1 0,1 1 0,0-1 0,1 2 0,14-7 0,19-3 0,-34 14 0,-1-1 0,0 0 0,20-11 0,-28 12 0,0 1 0,0-1 0,0 0 0,0 1 0,-1-2 0,0 1 0,0 0 0,0-1 0,0 1 0,2-7 0,2-8 0,8-24 0,-6 9 0,9-64 0,-5-36 0,-7 49 0,23-145 0,-20 185 0,1 1 0,3 1 0,19-48 0,28-35 0,-48 104 0,1 1 0,1 0 0,26-28 0,-36 44 0,0 1 0,0 1 0,1-1 0,-1 0 0,8-3 0,-11 6 0,0 0 0,0 1 0,0-1 0,0 1 0,0 0 0,0-1 0,0 1 0,0 0 0,0-1 0,0 1 0,0 0 0,0 0 0,0 0 0,1 0 0,-1 0 0,0 0 0,0 0 0,0 0 0,0 1 0,0-1 0,0 0 0,0 1 0,0-1 0,0 1 0,0-1 0,0 1 0,0-1 0,-1 1 0,1 0 0,0-1 0,0 1 0,0 0 0,-1-1 0,1 1 0,0 0 0,0 2 0,2 3 0,0 0 0,0 0 0,0 0 0,2 12 0,4 28 0,-7-32 0,11 68 0,13 59 0,-20-118 0,1-1 0,0 1 0,2-1 0,13 23 0,-15-32 0,1-1 0,0 0 0,1 0 0,0-1 0,14 14 0,-15-18 0,0 0 0,0-1 0,1 0 0,0-1 0,0 0 0,1 0 0,-1 0 0,12 2 0,23 5 0,-29-8 0,0 0 0,-1 1 0,24 10 0,-36-14 0,0 0 0,0 0 0,0 1 0,0-1 0,-1 0 0,1 1 0,0-1 0,-1 1 0,1 0 0,-1 0 0,1 0 0,-1-1 0,0 1 0,0 0 0,0 1 0,0-1 0,0 0 0,0 0 0,0 0 0,-1 1 0,1-1 0,-1 4 0,3 6 0,-1 0 0,2 1 0,-1-2 0,12 24 0,-10-22 0,-3-8 0,1-1 0,-1 1 0,1 0 0,0-1 0,1 1 0,-1-1 0,0 0 0,1 0 0,0 0 0,0-1 0,0 0 0,1 1 0,6 2 0,0 0 0,0-1 0,1 0 0,0-1 0,20 4 0,0-1 0,-22-6 0,1 1 0,0 1 0,-1 0 0,1 0 0,16 9 0,-24-11 0,-1 1 0,0 0 0,1 0 0,-1 0 0,0 0 0,0 0 0,0 0 0,0 1 0,-1-1 0,1 1 0,0-1 0,-1 1 0,0-1 0,0 1 0,0 0 0,0 0 0,1 5 0,0 3 0,-1 1 0,0-1 0,-1 16 0,0 1 0,0-25 0,4 45 0,-4-43 0,1-1 0,0 1 0,1-1 0,-1 0 0,1 1 0,0-1 0,0 0 0,3 6 0,-3-8 0,0-1 0,0 1 0,0 0 0,0-1 0,0 1 0,0-1 0,0 0 0,1 0 0,-1 1 0,0-2 0,1 1 0,-1 0 0,1 0 0,-1-1 0,1 1 0,-1-1 0,4 0 0,4 0 0,-1 0 0,1 0 0,11-3 0,-6 0 0,1-1 0,-1 0 0,-1-1 0,1-1 0,15-8 0,68-44 0,-66 37 0,-16 11 0,-11 6 0,0 1 0,0 0 0,0 0 0,0 0 0,1 0 0,-1 1 0,7-2 0,-10 4 0,0 0 0,0 0 0,0 0 0,-1 0 0,1 0 0,0 0 0,0 1 0,-1-1 0,1 1 0,0 0 0,1 0 0,19 11 0,-17-8 0,-3-4 0,3 4 0,0-1 0,0-1 0,0 1 0,1-1 0,0 0 0,8 3 0,-2-4 0,1 1 0,-1-1 0,1-1 0,16-1 0,-17-2-1365</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09:35.218"/>
    </inkml:context>
    <inkml:brush xml:id="br0">
      <inkml:brushProperty name="width" value="0.035" units="cm"/>
      <inkml:brushProperty name="height" value="0.035" units="cm"/>
      <inkml:brushProperty name="color" value="#849398"/>
    </inkml:brush>
  </inkml:definitions>
  <inkml:trace contextRef="#ctx0" brushRef="#br0">1 1 24575,'0'0'-8191</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0:07.526"/>
    </inkml:context>
    <inkml:brush xml:id="br0">
      <inkml:brushProperty name="width" value="0.035" units="cm"/>
      <inkml:brushProperty name="height" value="0.035" units="cm"/>
      <inkml:brushProperty name="color" value="#849398"/>
    </inkml:brush>
  </inkml:definitions>
  <inkml:trace contextRef="#ctx0" brushRef="#br0">9 437 24575,'-6'-17'0,"5"2"0,0-1 0,1-19 0,1 7 0,-1 22 0,1 1 0,0-1 0,1 1 0,-1-1 0,1 1 0,0-1 0,3-5 0,-2 4 0,0 0 0,0-1 0,1-7 0,-1 3 0,1 1 0,1-1 0,0 1 0,0 0 0,13-19 0,-15 25 0,22-29 0,-17 24 0,12-19 0,-16 21 0,-4 6 0,0 1 0,1 0 0,-1 0 0,1 0 0,0-1 0,-1 1 0,1 0 0,0 0 0,2-2 0,44-44 0,-46 46 0,0 1 0,0-1 0,0 1 0,0-1 0,0 1 0,0 0 0,1-1 0,-1 1 0,0 0 0,0 0 0,0 0 0,2 0 0,16 0 0,-8 1 0,-10-1 0,0 0 0,1 1 0,-1-1 0,1 0 0,-1 1 0,0-1 0,1 1 0,-1 0 0,0 0 0,0-1 0,0 1 0,1 0 0,0 2 0,16 15 0,-14-14 0,-3-1 0,0-1 0,0 0 0,0 0 0,0 0 0,0 0 0,-1 1 0,2 2 0,0 5 0,12 41 0,-13-49 0,0 0 0,1 0 0,-1 0 0,0 0 0,1 0 0,0 0 0,2 2 0,7 8 0,16 33 0,-22-38 0,0 0 0,0 0 0,7 7 0,0-1 0,-6-6 0,4 6 0,-9-12 0,0 0 0,-1 0 0,1 0 0,0 0 0,0 0 0,0 0 0,0-1 0,0 1 0,0 0 0,0 0 0,0-1 0,0 1 0,0-1 0,1 1 0,-1-1 0,2 1 0,9 3 0,-11-3 0,0-1 0,0 1 0,1-1 0,-1 0 0,0 1 0,0-1 0,1 0 0,1 1 0,-1-1 0,0 1 0,1-1 0,-1 1 0,0 0 0,0 0 0,2 1 0,0 1 0,0-2-1365</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0:18.348"/>
    </inkml:context>
    <inkml:brush xml:id="br0">
      <inkml:brushProperty name="width" value="0.035" units="cm"/>
      <inkml:brushProperty name="height" value="0.035" units="cm"/>
      <inkml:brushProperty name="color" value="#FFFFFF"/>
    </inkml:brush>
  </inkml:definitions>
  <inkml:trace contextRef="#ctx0" brushRef="#br0">0 0 24575,'0'0'-8191</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0:19.656"/>
    </inkml:context>
    <inkml:brush xml:id="br0">
      <inkml:brushProperty name="width" value="0.035" units="cm"/>
      <inkml:brushProperty name="height" value="0.035" units="cm"/>
      <inkml:brushProperty name="color" value="#FFFFFF"/>
    </inkml:brush>
  </inkml:definitions>
  <inkml:trace contextRef="#ctx0" brushRef="#br0">1 184 24575,'9'-4'0,"17"-15"0,-2-1 0,43-44 0,-59 56 0,55-60 0,-116 139 0,-36 42 0,87-111 31,4-3-530,-1 0-398</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0:24.954"/>
    </inkml:context>
    <inkml:brush xml:id="br0">
      <inkml:brushProperty name="width" value="0.035" units="cm"/>
      <inkml:brushProperty name="height" value="0.035" units="cm"/>
      <inkml:brushProperty name="color" value="#FFFFFF"/>
    </inkml:brush>
  </inkml:definitions>
  <inkml:trace contextRef="#ctx0" brushRef="#br0">128 531 24575,'7'-8'0,"167"-193"0,-112 133 0,-5 3 0,110-116 0,-159 174 0,-15 16 0,-154 168 0,-11-9 0,146-143 0,-25 23 0,-71 73 0,117-115 0,7-7 0,8-10 0,372-386 0,-376 390 0,39-37 0,-39 40 0,-7 7 0,-8 10 0,-205 244 0,140-173 0,31-33 0,-102 112 0,141-159 0,5-7 0,9-9 0,-8 9 0,166-198-251,12 8-51,-153 164 293,-16 17 9,139-136 0,-143 144 164,-15 13 141,-6 7-290,-225 255 71,9 8-94,229-277 8,-7 8 0,7-8 0,4-5 0,107-112 0,251-262 0,-342 357 0,-19 20 0,-3 5 0,-32 32 0,-181 206 0,20-21 0,178-203 0,17-19 0,3-4 0,5-7 0,122-154 0,11 10 0,-126 140 0,25-27 0,51-43 0,-79 77 0,-10 9 0,-2 2 0,-15 17 0,12-15 0,-199 237 0,26-31 0,103-117 0,118-160 0,27-28 0,4 4 0,107-99 0,-208 223 0,-296 366 0,318-395 0,-45 51 0,48-55 0,2-2 0,3-6 0,9-10 0,319-415 0,-283 370 0,-168 207 0,56-68 0,-162 222 0,217-287 0,-3 2 0,22-25 0,26-35 0,46-78 0,-37 54 0,166-206 0,-204 267 0,-4 4 0,1 0 0,-1 0 0,1 0 0,0 1 0,0 0 0,10-7 0,-27 28 0,-37 52 0,-64 88 0,42-68 0,-6 7 0,11-1 0,104-156 0,225-317 0,-245 353 0,2 2 0,0 0 0,28-23 0,-42 42 0,-4 4 0,-9 11 0,-412 578 0,405-572 0,11-14 0,10-11 0,241-331 0,-120 157 0,-120 172 0,-9 12 0,-13 20 0,-181 240 0,103-146 0,83-105 0,3-3 0,0 0 0,0 0 0,0 0 0,1 1 0,-5 12 0,25-33 0,285-334 0,-295 338 0,-2 4 0,-1 1 0,1-1 0,0 1 0,0 0 0,0 0 0,0 0 0,1 0 0,4-3 0,-17 18 0,-112 149 0,35-49 0,58-74 0,-52 66 0,123-159 0,171-240 0,-115 161 0,-48 67 0,-36 50 90,3-4-1545</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0:26.377"/>
    </inkml:context>
    <inkml:brush xml:id="br0">
      <inkml:brushProperty name="width" value="0.035" units="cm"/>
      <inkml:brushProperty name="height" value="0.035" units="cm"/>
      <inkml:brushProperty name="color" value="#FFFFFF"/>
    </inkml:brush>
  </inkml:definitions>
  <inkml:trace contextRef="#ctx0" brushRef="#br0">0 0 24575,'1'2'0,"-1"0"0,1-1 0,0 1 0,-1-1 0,1 1 0,0-1 0,0 1 0,0-1 0,0 1 0,2 1 0,1 1 0,9 15 0,0 1 0,-1 0 0,-2 1 0,0 0 0,0 0 0,-2 1 0,-1 1 0,-1-1 0,5 38 0,-10-55 0,0-1 0,-1-1 0,1 0 0,-1 1 0,0-1 0,0 1 0,-1-1 0,0 7 0,1-12 0,-1 0 0,1 0 0,-1 1 0,1-1 0,-1 0 0,-2-3 0,1 0 0,-8-20 0,-17-27 0,18 36 0,0-1 0,1 0 0,1-1 0,-8-31 0,14 44 0,3 5 0,3 9 0,-3-6 0,42 79 0,56 105 0,-99-186 0,6 12 0,-7-12 0,0-1 0,-3-9 0,-32-74 0,-15-37 0,38 86 0,-12-56 0,23 85 0,1 4 0,-1 0 0,1-1 0,0 1 0,-1-1 0,1 1 0,0 0 0,0-1 0,0 1 0,1-3 0,3 19 0,1 10 0,45 174 0,-49-195 0,0-1 0,1 1 0,-1-1 0,1 0 0,0 0 0,0 0 0,0 0 0,0 0 0,5 4 0,-1-2 0,1 1 0,14 7 0,-16-9-175,-1-1-1,1 1 1,5 5-1,-8-6-487,8 7-6163</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02:59.681"/>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0 347 0,'193'-346'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0:27.215"/>
    </inkml:context>
    <inkml:brush xml:id="br0">
      <inkml:brushProperty name="width" value="0.035" units="cm"/>
      <inkml:brushProperty name="height" value="0.035" units="cm"/>
      <inkml:brushProperty name="color" value="#FFFFFF"/>
    </inkml:brush>
  </inkml:definitions>
  <inkml:trace contextRef="#ctx0" brushRef="#br0">253 226 24575,'-2'0'0,"1"-1"0,-1 1 0,1-1 0,-1 1 0,1-1 0,0 0 0,-2-1 0,2 2 0,-18-10 0,2-2 0,-19-13 0,-30-31 0,64 54 0,-17-17 0,0-1 0,1-1 0,-15-23 0,27 35 0,3 7 0,2 3 0,2 7 0,4 12 0,-2-12 0,1 0 0,-1 0 0,1 0 0,1-1 0,7 11 0,32 31 0,-22-25 0,-13-15-341,0 0 0,0-1-1,13 10 1,-10-10-6485</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0:28.304"/>
    </inkml:context>
    <inkml:brush xml:id="br0">
      <inkml:brushProperty name="width" value="0.035" units="cm"/>
      <inkml:brushProperty name="height" value="0.035" units="cm"/>
      <inkml:brushProperty name="color" value="#FFFFFF"/>
    </inkml:brush>
  </inkml:definitions>
  <inkml:trace contextRef="#ctx0" brushRef="#br0">256 227 24575,'0'0'0,"-8"0"0,0 0 0,0 0 0,0-1 0,1 0 0,-14-3 0,17 3 0,0-1 0,0 0 0,0 0 0,0 0 0,0 0 0,0 0 0,1-1 0,-1 0 0,-5-5 0,-16-20 0,-38-57 0,10 11 0,45 67 0,6 8 0,2 5 0,0 0 0,1-1 0,0 0 0,0 0 0,0 1 0,0-1 0,1 0 0,4 8 0,20 33 0,-15-28 0,-1-1 60,16 19 0,-21-30-308,0 1 1,1-2-1,0 1 1,0-1-1,13 9 1</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0:32.790"/>
    </inkml:context>
    <inkml:brush xml:id="br0">
      <inkml:brushProperty name="width" value="0.035" units="cm"/>
      <inkml:brushProperty name="height" value="0.035" units="cm"/>
      <inkml:brushProperty name="color" value="#FFFFFF"/>
    </inkml:brush>
  </inkml:definitions>
  <inkml:trace contextRef="#ctx0" brushRef="#br0">254 144 24575,'-1'0'0,"-1"0"0,1 0 0,0 0 0,-1 0 0,1 0 0,0 0 0,-1 0 0,1 0 0,-2-1 0,0 0 0,-21-1 0,1-1 0,0-2 0,0 0 0,-30-12 0,49 15 9,-1 0-1,1-1 0,-1 0 1,1 0-1,0 0 1,0 0-1,0-1 0,1 1 1,-1-1-1,-4-7 1,-3-5-413,-12-25 0,17 30-246</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0:33.809"/>
    </inkml:context>
    <inkml:brush xml:id="br0">
      <inkml:brushProperty name="width" value="0.035" units="cm"/>
      <inkml:brushProperty name="height" value="0.035" units="cm"/>
      <inkml:brushProperty name="color" value="#FFFFFF"/>
    </inkml:brush>
  </inkml:definitions>
  <inkml:trace contextRef="#ctx0" brushRef="#br0">321 106 24575,'-12'7'0,"2"-3"0,0 0 0,0 0 0,-17 3 0,22-6 0,0-1 0,0 1 0,-1-1 0,1 0 0,0 0 0,0-1 0,0 1 0,0-1 0,-8-3 0,-15-5 0,-38-18 0,57 23 0,0-1 0,1 0 0,0-1 0,0 1 0,0-2 0,1 1 0,0-1 0,-8-10 0,-5-12-1365</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0:46.478"/>
    </inkml:context>
    <inkml:brush xml:id="br0">
      <inkml:brushProperty name="width" value="0.035" units="cm"/>
      <inkml:brushProperty name="height" value="0.035" units="cm"/>
      <inkml:brushProperty name="color" value="#FFFFFF"/>
    </inkml:brush>
  </inkml:definitions>
  <inkml:trace contextRef="#ctx0" brushRef="#br0">695 678 24575,'-1'4'0,"1"0"0,-1 0 0,0-1 0,0 1 0,-1 0 0,1-1 0,-1 1 0,0-1 0,-2 4 0,-1 1 0,-30 51 0,-56 70 0,-6 8 0,168-258 0,-39 55 0,-3 8 0,38-60 0,-56 102 0,-10 17 0,-2 5 0,-2 6 0,-184 378 0,181-378 0,5-9 0,-1 0 0,1 1 0,-1-1 0,0 0 0,0 0 0,-5 5 0,10-21 0,19-34 0,2 1 0,2 1 0,38-51 0,-50 77 0,29-30 0,-39 46 0,-2 3 0,-5 9 0,-33 67 0,-47 72 0,72-130 0,0-1 0,-18 20 0,24-32 0,2-6 0,2 1 0,1-1 0,0 0 0,0 0 0,0 0 0,0 0 0,0 0 0,0 0 0,0 0 0,1 0 0,-1 1 0,0-1 0,1-1 0,8-26 0,2 1 0,22-40 0,-16 34 0,-2 3 0,47-90 0,-87 173 0,9-17 0,-95 179 0,104-205 0,7-10 0,0 0 0,0 0 0,0 0 0,0 0 0,0 0 0,0 0 0,0 0 0,0 0 0,0 0 0,0 0 0,0 0 0,0 0 0,-1 0 0,1 0 0,0 0 0,0 0 0,0 0 0,0 0 0,0 0 0,0 0 0,0 0 0,0 0 0,0 0 0,0 0 0,0 0 0,0 0 0,0 0 0,0 0 0,0 0 0,0 0 0,0 0 0,-1 0 0,1 0 0,0 0 0,0 0 0,0 0 0,0 0 0,0 0 0,0 0 0,0 0 0,0 0 0,0-1 0,0 1 0,0 0 0,0 0 0,0 0 0,0 0 0,0 0 0,0 0 0,0 0 0,0 0 0,0 0 0,0 0 0,0 0 0,0 0 0,0 0 0,0 0 0,0 0 0,0-1 0,0 1 0,0 0 0,0 0 0,0 0 0,0 0 0,0 0 0,1 0 0,-1 0 0,0 0 0,0 0 0,6-22 0,104-257 0,-106 268 0,-2 5 0,1 0 0,-1 0 0,1 1 0,4-6 0,-10 28 0,-11 31 0,-2-1 0,-3-1 0,-1-1 0,-43 70 0,57-105 0,6-10 0,10-14 0,48-76 0,-32 47 0,61-75 0,-80 111 0,-8 12 0,-9 16 0,10-20 0,-146 231 0,107-174 0,31-47 0,10-13 0,12-20 0,97-148 0,1 1 0,-107 162 0,-8 12 0,-60 94 0,-90 151 0,125-200 0,130-245 0,-94 179 0,61-116 0,-76 146 0,1 0 0,0 1 0,-3 16 0,1-7 0,-55 178 0,60-194 0,20-44 0,-4-1 0,-2 0 0,-1 0 0,-1-1 0,4-62 0,-41 261 0,25-143 0,-1 2 0,-2 11 0,-11 34 0,60-207 0,26-69 0,-65 205 0,-4 5 0,0 1 0,0 0 0,0 0 0,0 0 0,0 0 0,0 0 0,0 0 0,0 0 0,0 0 0,0 0 0,0 0 0,0 0 0,0 0 0,0 0 0,0 0 0,0 0 0,0 0 0,0 0 0,0 0 0,0 0 0,0 0 0,0 0 0,0 0 0,0 0 0,0 0 0,0 0 0,0 0 0,0 0 0,0 0 0,0 0 0,0 0 0,0 0 0,0 0 0,0 0 0,0 0 0,0 0 0,0 0 0,1 0 0,-1 0 0,0 0 0,0 0 0,0 0 0,0 0 0,0 0 0,0 0 0,0 0 0,0 0 0,0 0 0,0 0 0,0 0 0,0 0 0,0 0 0,0 0 0,0 0 0,0 0 0,0 0 0,0 0 0,0 0 0,0 0 0,0 0 0,0 0 0,0 0 0,1 13 0,-5 37 0,-3 1 0,-13 54 0,16-86 0,3-15 0,-9 43 0,-20 59 0,30-106 0,0 0 0,0 0 0,0 1 0,0-1 0,0 0 0,0 0 0,0 0 0,0 0 0,0 0 0,0 0 0,0 0 0,0 1 0,0-1 0,0 0 0,0 0 0,0 0 0,0 0 0,0 0 0,0 0 0,0 0 0,-1 0 0,1 0 0,0 1 0,0-1 0,0 0 0,0 0 0,0 0 0,0 0 0,0 0 0,0 0 0,0 0 0,-1 0 0,1 0 0,0 0 0,0 0 0,0 0 0,0 0 0,0 0 0,0 0 0,-1 0 0,0-5 0,1-11 0,1-19 0,11-69 0,20-33 0,-14 77 0,-54 182 0,-25 72 0,60-191 0,-2 6 0,-1 0 0,0 0 0,-1 0 0,0 0 0,-10 13 0,14-21 0,1-1 0,-1 1 0,1 0 0,-1-1 0,0 1 0,1-1 0,-1 1 0,0-1 0,0 1 0,1-1 0,-1 1 0,0-1 0,0 0 0,0 1 0,-1-1 0,2 0 0,-1 0 0,1 0 0,-1 0 0,1 0 0,-1 0 0,1 0 0,-1-1 0,1 1 0,0 0 0,-1 0 0,1 0 0,-1-1 0,1 1 0,-1 0 0,1 0 0,0-1 0,-1 1 0,1 0 0,0-1 0,-1 0 0,-1-1 0,1-1 0,0 1 0,-1-1 0,1 0 0,0 1 0,0-1 0,1 0 0,-2-3 0,0-12 0,0-1 0,0 1 0,2-22 0,8-57 0,-8 94 0,24-167 0,-2 18 0,-21 147 0,0-12 0,-1 17 0,0 0 0,0 0 0,0 0 0,0 0 0,0 0 0,0 0 0,0 0 0,0 0 0,0 0 0,0 0 0,0 0 0,0 0 0,0 0 0,0 0 0,0 0 0,0 0 0,-1 0 0,1 0 0,0 0 0,0 0 0,0 0 0,0 0 0,0 0 0,0 0 0,0 0 0,0 0 0,0 0 0,0 0 0,0 0 0,0 0 0,0 0 0,0 0 0,0 0 0,0 0 0,0 0 0,0 0 0,0 0 0,0 0 0,0 0 0,0 0 0,0 0 0,0 0 0,0-1 0,0 1 0,0 0 0,0 0 0,0 0 0,0 0 0,0 0 0,0 0 0,0 0 0,0 0 0,0 0 0,0 0 0,0 0 0,0 0 0,0 0 0,0 0 0,-5 10 0,-42 146 0,11 3 0,-2 7 0,36-159 0,2-9 0,3-14 0,15-75 0,29-142 0,15 3 0,-60 224 0,3-9 0,10-22 0,-14 35 0,-2 7 0,-4 12 0,-84 204 0,-12-1 0,72-156 0,3-9 0,21-47 0,5-8 0,0 0 0,0 0 0,0 0 0,0 0 0,0 0 0,0 0 0,0 0 0,0 0 0,0 0 0,0 0 0,0 0 0,0 0 0,0 0 0,0 0 0,0 0 0,0 0 0,0 0 0,0 0 0,0 0 0,0 0 0,0 0 0,0-1 0,0 1 0,-1 0 0,1 0 0,0 0 0,0 0 0,0 0 0,0 0 0,0 0 0,0 0 0,0 0 0,0 0 0,0 0 0,0 0 0,0 0 0,0 0 0,0 0 0,0 1 0,0-1 0,0 0 0,0 0 0,0 0 0,0 0 0,0 0 0,0 0 0,0 0 0,0 0 0,0 0 0,0 0 0,0 0 0,0 0 0,0 0 0,0 0 0,0 0 0,0 0 0,0 0 0,0 0 0,0 0 0,-1 0 0,1 0 0,4-16 0,113-271 0,-60 169 0,-41 88 0,37-51 0,-51 77 0,-1 3 0,0-1 0,1 1 0,-1-1 0,0 1 0,0-1 0,1 1 0,-1 0 0,1 0 0,-1-1 0,4 0 0,-5 2 0,0 0 0,0 0 0,0 0 0,0 0 0,1 0 0,-1 0 0,0 0 0,0 0 0,0 0 0,0 0 0,1 0 0,-1 0 0,0 0 0,0 0 0,0 0 0,0 0 0,0 0 0,1 0 0,-1 0 0,0 1 0,0-1 0,0 0 0,0 0 0,0 0 0,0 0 0,0 0 0,1 0 0,-1 1 0,0-1 0,0 0 0,0 0 0,0 0 0,0 0 0,0 0 0,0 1 0,0-1 0,0 0 0,0 0 0,0 1 0,1 4 0,0 0 0,-1 0 0,0 0 0,0 0 0,0 0 0,-1 7 0,0-3 0,-5 39 0,-1 0 0,-3-1 0,-1 0 0,-32 80 0,42-126 0,-2 8 0,0 0 0,-1-1 0,-1 0 0,1 0 0,-12 14 0,16-22 0,0 1 0,0-1 0,0 0 0,-1 1 0,1-1 0,0 0 0,0 0 0,-1 1 0,1-1 0,0 0 0,0 0 0,-1 1 0,1-1 0,0 0 0,-1 0 0,1 0 0,0 0 0,-1 1 0,1-1 0,0 0 0,-1 0 0,1 0 0,-1 0 0,1 0 0,0 0 0,-1 0 0,1 0 0,0 0 0,-1 0 0,0 0 0,1-1 0,0 1 0,-1-1 0,1 0 0,0 1 0,-1-1 0,1 0 0,0 1 0,0-1 0,0 0 0,-1 1 0,1-1 0,0 0 0,0 0 0,0 1 0,0-1 0,1-1 0,0-11 0,0-1 0,2 1 0,7-26 0,19-38 0,-15 42 0,2 0 0,1 1 0,32-45 0,-47 76 0,1-1 0,0 0 0,0 1 0,5-5 0,-8 8 0,0 0 0,0 0 0,0 0 0,0 0 0,0-1 0,1 1 0,-1 0 0,0 0 0,0 0 0,0 0 0,0 0 0,0 0 0,0 0 0,0 0 0,0 0 0,0 0 0,0 0 0,0 0 0,1 0 0,-1 0 0,0 0 0,0-1 0,0 1 0,0 0 0,0 0 0,0 0 0,0 0 0,0 0 0,1 0 0,-1 0 0,0 0 0,0 0 0,0 0 0,0 1 0,0-1 0,0 0 0,0 0 0,0 0 0,1 0 0,-1 0 0,0 0 0,0 0 0,0 0 0,0 0 0,0 0 0,0 0 0,0 0 0,0 0 0,0 0 0,0 0 0,0 1 0,1-1 0,-1 0 0,0 0 0,0 0 0,0 0 0,0 0 0,-1 9 0,-4 8 0,-1 0 0,-1 0 0,0 0 0,-12 18 0,12-23 0,-34 62 0,-3-2 0,-77 96 0,115-161 0,3-3 0,0 0 0,0 0 0,0 0 0,-8 5 0,11-9 0,-1 0 0,1 0 0,0 1 0,0-1 0,0 0 0,0 0 0,0 0 0,0 0 0,0 0 0,-1 0 0,1 0 0,0 0 0,0 0 0,0 0 0,0 0 0,0 0 0,-1 0 0,1 0 0,0 0 0,0 0 0,0 0 0,0 0 0,0 0 0,0 0 0,-1 0 0,1 0 0,0 0 0,0 0 0,0 0 0,0 0 0,0 0 0,-1 0 0,1 0 0,0 0 0,0 0 0,0-1 0,0 1 0,0 0 0,0 0 0,0 0 0,0 0 0,0 0 0,-1 0 0,1 0 0,0-1 0,0 1 0,0 0 0,0 0 0,0 0 0,0 0 0,0 0 0,0 0 0,0-1 0,0 1 0,0 0 0,0 0 0,0 0 0,0 0 0,0 0 0,0-1 0,0 1 0,0 0 0,0 0 0,0 0 0,2-13 0,31-96 0,-19 66 0,22-67 0,62-182 0,-98 292 0,0 0 0,0 0 0,0 0 0,0-1 0,1 1 0,-1 0 0,0-1 0,0 1 0,0 0 0,0 0 0,0-1 0,0 1 0,0 0 0,0 0 0,0-1 0,0 1 0,0 0 0,0-1 0,0 1 0,0 0 0,0 0 0,0-1 0,0 1 0,0-1 0,-7 8 0,-269 364 0,239-315 0,52-86 0,8-9 0,59-99 0,-55 96 0,40-46 0,-63 83 0,-3 3 0,1 0 0,-1 0 0,1 0 0,0 1 0,3-4 0,-5 5 0,0 0 0,0 0 0,0 1 0,0-1 0,0 0 0,0 0 0,0 0 0,0 0 0,0 0 0,0 0 0,0 0 0,0 0 0,0 0 0,0 0 0,0 0 0,0 0 0,0 0 0,0 0 0,0 0 0,0 0 0,0 1 0,0-1 0,0 0 0,0 0 0,0 0 0,0 0 0,0 0 0,0 0 0,0 0 0,0 0 0,0 0 0,0 0 0,0 0 0,0 0 0,0 0 0,0 0 0,0 0 0,0 1 0,0-1 0,0 0 0,0 0 0,0 0 0,0 0 0,0 0 0,1 0 0,-1 0 0,0 0 0,0 0 0,0 0 0,0 0 0,0 0 0,0 0 0,0 0 0,0 0 0,0 0 0,0 0 0,0 0 0,0 0 0,0 0 0,0 0 0,1 0 0,-1 0 0,0 0 0,0 0 0,0 0 0,0 0 0,0 0 0,0 0 0,0 0 0,-1 5 0,-1 0 0,1-1 0,-1 1 0,0 0 0,-4 5 0,0 2 0,-44 82 0,-3-2 0,-71 91 0,114-170 0,3-3 0,-1 0 0,-17 18 0,21-26 0,3-3 0,3-8 0,17-34 0,45-76 0,-55 102 0,70-112 0,-58 98 0,50-56 0,-60 77 0,-6 7 0,-4 3 0,-1 0 0,0 0 0,0 0 0,0 0 0,0 0 0,0 0 0,0 0 0,0 0 0,0 0 0,0 0 0,0 0 0,1 0 0,-1 0 0,0 0 0,0 0 0,0 0 0,0 0 0,0 0 0,0 0 0,0 0 0,0 0 0,0 0 0,0 0 0,0 0 0,0 1 0,0-1 0,0 0 0,0 0 0,0 0 0,1 0 0,-1 0 0,0 0 0,0 0 0,0 0 0,0 0 0,0 0 0,0 0 0,0 0 0,0 1 0,0-1 0,0 0 0,0 0 0,0 0 0,0 0 0,0 0 0,0 0 0,0 0 0,0 0 0,0 0 0,-1 0 0,1 0 0,0 1 0,-1 3 0,0 0 0,0 0 0,-1 0 0,1 0 0,-5 7 0,2-4 0,-27 49 0,-50 71 0,-54 44 0,120-153 0,15-18 0,0 0 0,0 0 0,0 0 0,0 0 0,0 0 0,0 0 0,0 0 0,0 0 0,0 0 0,-1 0 0,1 0 0,0 0 0,0 0 0,0 0 0,0 0 0,9-12 0,23-31 0,3 2 0,39-38 0,-71 76 0,13-11 0,-15 13 0,0 1 0,0-1 0,0 1 0,-1-1 0,1 1 0,0-1 0,0 1 0,0 0 0,0-1 0,0 1 0,0 0 0,0 0 0,0 0 0,0 0 0,0 0 0,1 0 0,-1 0 0,0 0 0,-1 1 0,1-1 0,-1 1 0,1-1 0,-1 0 0,1 1 0,-1-1 0,1 1 0,-1-1 0,1 1 0,-1 0 0,1-1 0,-1 1 0,0-1 0,0 1 0,1 0 0,-1 0 0,5 15 0,-4-12 0,2 5 0,-1-4 0,-1 0 0,0 0 0,2 7 0,-3-10 0,0-1 0,0 1 0,0-1 0,0 0 0,0 1 0,-1-1 0,1 0 0,0 1 0,-1-1 0,1 0 0,-1 1 0,1-1 0,-1 0 0,1 0 0,-1 1 0,0-1 0,0 0 0,0 1 0,-4 3 0,-1-1 0,1 0 0,0 0 0,-1 0 0,0-1 0,-10 5 0,-40 12 0,53-19 0,-59 14 0,15-4 0,51-11 0,-1 0 0,0 0 0,0 0 0,0 0 0,5 1 0,2 0 0,20 2 0,42 10 0,-61-10 0,-1 0 0,1 0 0,-1 1 0,0 1 0,0 0 0,-1 0 0,14 10 0,-22-15 0,-1 0 0,1 1 0,0-1 0,-1 1 0,1-1 0,-1 1 0,1-1 0,0 1 0,-1-1 0,0 1 0,1 0 0,-1-1 0,1 1 0,-1 0 0,0-1 0,1 1 0,-1 0 0,0 0 0,0-1 0,1 1 0,-1 0 0,0 0 0,0-1 0,0 1 0,0 0 0,0 0 0,0 1 0,-1-1 0,0 0 0,1 0 0,-1 0 0,0 0 0,0 0 0,1 0 0,-1-1 0,0 1 0,0 0 0,0 0 0,0-1 0,0 1 0,0-1 0,0 1 0,-1-1 0,1 1 0,-2 0 0,-6 1 0,-1 0 0,1 0 0,-1 0 0,1-1 0,-1-1 0,1 0 0,-16-1 0,11-1 0,1 0 0,0-1 0,0-1 0,-23-9 0,36 13 0,0 0 0,0 0 0,0 0 0,0 0 0,0 0 0,0 0 0,-1 0 0,1 0 0,0 0 0,0 0 0,0 0 0,0 0 0,0 0 0,0 0 0,0 0 0,0 0 0,0 0 0,0 0 0,0 0 0,0-1 0,0 1 0,0 0 0,0 0 0,0 0 0,0 0 0,0 0 0,0 0 0,0 0 0,0 0 0,0 0 0,0 0 0,0 0 0,0 0 0,0 0 0,0 0 0,0 0 0,0 0 0,0 0 0,0-1 0,0 1 0,0 0 0,0 0 0,0 0 0,0 0 0,0 0 0,0 0 0,0 0 0,0 0 0,0 0 0,0 0 0,0 0 0,1 0 0,-1 0 0,0 0 0,0 0 0,0 0 0,0 0 0,0 0 0,0 0 0,0 0 0,0 0 0,0 0 0,0 0 0,0 0 0,0 0 0,0 0 0,0 0 0,0 0 0,8-3 0,9-1 0,23 0 0,53 1 0,-73 3 0,-189 14 0,123-9 0,-37 7 0,249-56 0,-97 25 0,-40 11 0,22-6 0,70-28 0,-124 42 0,0-1 0,0 1 0,0-1 0,0 0 0,0 0 0,-4-2 0,2 2 0,-1-2 0,0 1 0,1 0 0,-1-1 0,1 0 0,-1 0 0,1-1 0,-6-5 0,8 7 0,1-1 0,-1 0 0,1 0 0,-1 0 0,1 0 0,0-1 0,0 1 0,0-1 0,1 1 0,-1-1 0,1 1 0,-2-9 0,2 0 0,-1 0 0,2 0 0,-1-1 0,2 1 0,0 0 0,2-13 0,1 6 0,1-1 0,13-35 0,-11 39 0,-4 14 0,-5 10 0,-21 69 0,-51 111 0,62-159 0,-1-2 0,-25 38 0,31-57 0,7-8 0,0 0 0,0 0 0,0 0 0,0 0 0,0 0 0,0 0 0,0 0 0,-1 0 0,1 0 0,0 0 0,0 0 0,0 0 0,0 0 0,0 0 0,0 0 0,0 0 0,0 0 0,0 0 0,0 0 0,0 0 0,0 0 0,0 0 0,-1 0 0,1 0 0,0 0 0,0 0 0,0 0 0,0 0 0,0 0 0,0 0 0,0 0 0,0 0 0,0 0 0,0 0 0,0 0 0,0 0 0,0-1 0,0 1 0,0 0 0,0 0 0,0 0 0,0 0 0,0 0 0,0 0 0,0 0 0,0 0 0,-1 0 0,1 0 0,0 0 0,0 0 0,0 0 0,0-1 0,0 1 0,1 0 0,-1 0 0,0 0 0,0 0 0,0 0 0,0-3 0,0 0 0,1-1 0,0 1 0,1-4 0,27-76 0,70-137 0,-96 214 0,6-13 0,23-32 0,-29 48 0,-3 5 0,-4 8 0,-97 213 0,81-181 0,20-41 0,1-4 0,5-8 0,0-2 0,16-28 0,122-226 0,-137 254 0,-2 4 0,0-1 0,1 1 0,8-9 0,-14 20 0,-2 6 0,-120 263 0,98-220 0,12-27 0,-95 183 0,132-222 0,0-4 0,-10 7 0,1 1 0,1 0 0,-1 1 0,21-9 0,-47 22 0,-1 0 0,-19 1 0,-33 2 0,-101 1 0,181-6 0,0 0 0,0 0 0,17 6 0,53 15 0,-81-21 0,10 4 0,-15-5 0,-1 0 0,1 1 0,0-1 0,0 0 0,-1 1 0,1-1 0,0 1 0,-1-1 0,1 1 0,0-1 0,-1 1 0,1-1 0,-1 1 0,1 0 0,0 1 0,-1-2 0,-1 0 0,1 1 0,-1-1 0,1 0 0,0 1 0,-1-1 0,1 0 0,-1 1 0,1-1 0,-1 0 0,1 0 0,-1 0 0,1 0 0,-1 1 0,1-1 0,-1 0 0,0 0 0,0 0 0,-14 3 0,0-1 0,-21 0 0,-27-2 0,46-1 0,113 6 0,10-1 0,-99-4 0,11-1 0,-18 1 0,0 0 0,0 0 0,0 0 0,0 0 0,0 0 0,0 0 0,0 0 0,0 0 0,0 0 0,0 0 0,0 0 0,0 0 0,0-1 0,0 1 0,0 0 0,0 0 0,0 0 0,0 0 0,0 0 0,0 0 0,0 0 0,0 0 0,0 0 0,0 0 0,0 0 0,0 0 0,0 0 0,0 0 0,0 0 0,0 0 0,0 0 0,0 0 0,0 0 0,0 0 0,0 0 0,0 0 0,0 0 0,0 0 0,0-1 0,0 1 0,0 0 0,0 0 0,0 0 0,0 0 0,0 0 0,0 0 0,0 0 0,0 0 0,0 0 0,0 0 0,1 0 0,-1 0 0,0 0 0,0 0 0,0 0 0,0 0 0,0 0 0,0 0 0,0 0 0,0 0 0,0 0 0,0 0 0,-10-3 0,-11-1 0,-35-2 0,-13-2 0,62 7 0,-1-1 0,1 0 0,-1-1 0,1 0 0,0 0 0,-12-7 0,18 9 0,0 1 0,0-1 0,0 0 0,0 1 0,0-1 0,0 0 0,1 0 0,-1 0 0,0 0 0,0 0 0,0 0 0,1 0 0,-1 0 0,0-1 0,1 1 0,0 0 0,0 0 0,0 0 0,0 0 0,0 0 0,0 0 0,1 0 0,-1 0 0,0 0 0,1 0 0,-1 0 0,0 0 0,1 0 0,-1 0 0,1 1 0,0-1 0,-1 0 0,1 0 0,1 0 0,123-126 0,-86 90 0,71-66 0,47-45 0,-226 213 0,-4-2 0,-135 90 0,205-152 0,-14 10 0,0 0 0,-33 14 0,50-25 0,-1 0 0,1 0 0,-1 1 0,0-1 0,1 0 0,-1 0 0,1 0 0,-1 0 0,0 0 0,1 0 0,-1 0 0,1 0 0,-1 0 0,0 0 0,0 0 0,1 0 0,0 0 0,0 0 0,-1 0 0,1-1 0,0 1 0,0 0 0,0 0 0,0 0 0,0-1 0,0 1 0,0 0 0,0 0 0,0 0 0,0 0 0,0-1 0,0 1 0,0 0 0,0 0 0,0 0 0,0-1 0,0 1 0,0 0 0,0 0 0,0 0 0,0 0 0,0-1 0,0 1 0,0 0 0,0 0 0,1-1 0,0-2 0,1 0 0,1 0 0,3-5 0,9-9 0,1 2 0,0-1 0,1 2 0,31-21 0,-17 17 0,1 0 0,38-14 0,-21 13 0,1 2 0,1 2 0,69-11 0,-113 25 0,-4 0 0,0 1 0,-1 0 0,1-1 0,0 1 0,-1 0 0,5 0 0,-13 5 0,-350 162 0,309-147 0,-72 31 0,110-49 0,17-8 0,29-17 0,47-21 0,43-11 0,0 9 0,-95 36 0,1 2 0,33-4 0,-62 11 0,-3 1 0,1-1 0,-1 1 0,0 0 0,1 0 0,-1 0 0,1 0 0,-1 0 0,1 0 0,-1 0 0,1 0 0,1 1 0,-10 3 0,-282 154 0,277-150 0,-9 4 0,1 1 0,-29 24 0,45-33 0,11-6 0,125-70 0,-95 50 0,674-402-1186,-363 203 996,-346 220 213,36-24 637,40-19 0,-143 73-627,-10 6-33,-100 52-563,3 8 0,-313 231 0,469-314 563,0 0 0,-25 25 0,40-36 1,4-2 15,8-6 249,184-132 816,-90 62-2029,90-64 673,290-205 295,-466 333-20,-2 1 0,20-10 0,-296 171 1368,219-125-1456,-711 490-1157,830-573 2490,81-59-1561,489-345-802,-598 430 1118,-42 28-22,-9 6 63,-5 3 208,-61 42 1023,49-35-1205,-241 153-376,-24 16-333,9 13 289,264-186 353,-2 1 0,-14 14 0,23-20 0,5-2 0,9-5 230,0 0 0,17-12 1,-4 3 184,57-33-194,242-146-811,247-136-872,-542 313 1411,-8 4 48,0 2-1,1 0 1,28-9-1,-45 18 73,-4 2 317,-10 8 614,-73 54-404,73-56-547,-317 216-1269,103-72 481,211-143 736,-233 168-425,228-162 428,13-10-41,6-4-1,11-7 455,192-120 1379,-8-10-2959,-20 8 646,118-81-23,-243 179 816,-43 28 721,-11 7-389,-17 13-59,-230 165-1038,189-140-210,-413 297 162,464-332 674,13-9 200,20-10 534,199-128-830,-4-10-496,-144 97 402,3-1 57,126-83 0,-198 133 0,-2 2 0,0-1 0,1 1 0,5-3 0,-10 5 4,0 0 0,0 0 0,0 0 0,0 0 0,0 0 0,0 0 0,0 1 1,0-1-1,0 0 0,0 0 0,0 0 0,0 0 0,0 0 0,0 0 0,0 0 1,0 0-1,0 0 0,0 0 0,0 0 0,0 0 0,0 0 0,0 0 0,0 0 1,0 0-1,0 0 0,0 1 0,0-1 0,0 0 0,0 0 0,0 0 0,0 0 1,0 0-1,0 0 0,0 0 0,0 0 0,0 0 0,0 0 0,0 0 0,0 0 1,0 0-1,1 0 0,-7 6 184,0-1 0,-1 1 0,-12 7 0,0 1-74,-263 177-634,-35 26-97,303-206 570,14-11 48,0 0 1,0 0-1,0 0 1,0 0-1,0 0 1,0 0-1,0 0 1,0 0-1,0 0 1,0 0-1,0 0 0,0 0 1,0 0-1,0 0 1,0 0-1,1 0 1,-1 0-1,0 0 1,0 0-1,0 0 1,0 0-1,0 0 1,0 0-1,0 0 1,0 0-1,0 0 1,0 0-1,0 0 1,0 0-1,0 0 1,0 1-1,10-7 189,260-175 715,-218 144-863,40-30-42,166-108 0,-222 157 0,-82 47 0,-682 377-1464,720-402 1463,-201 100-335,170-88 345,0-1-1,-1-2 1,-63 12 0,42-19 499,38-4-89,-37 8 1,53-8-374,-1 0 1,1 0 0,0 1-1,0 0 1,0 1-1,0-1 1,1 1 0,-12 10-1,8-6-46,1 1 0,1 1 0,0-1 0,0 2 0,1-1 0,0 1 0,1 0 0,-7 15 0,13-25 0,-1 0 0,1 0 0,0-1 0,-1 1 0,1 0 0,0 0 0,0 0 0,0 0 0,0 0 0,0 1 0,0-2 0,0 0 0,0 0 0,0 0 0,0 1 0,0-1 0,0 0 0,0 0 0,0 0 0,0 0 0,1 0 0,-1 1 0,0-1 0,0 0 0,0 0 0,0 0 0,0 0 0,0 0 0,0 0 0,1 0 0,-1 0 0,0 1 0,0-1 0,0 0 0,0 0 0,1 0 0,-1 0 0,0 0 0,0 0 0,0 0 0,0 0 0,0 0 0,1 0 0,-1 0 0,0 0 0,3-1 0,0 1 0,-1-1 0,1 0 0,-1 0 0,5-3 0,240-144 0,-210 124 0,-26 17 0,-9 8 0,-3 3 0,-5 7 0,-128 164 0,111-146 0,6-8 0,-194 227 0,210-247 0,1 0 0,-1-1 0,1 1 0,-1 0 0,0-1 0,1 1 0,-1 0 0,0-1 0,1 1 0,-1-1 0,0 1 0,0-1 0,0 1 0,9-16 0,143-209 0,19 11 0,-147 188 0,0 1 0,43-34 0,-65 57 0,0 0 0,0 0 0,0 1 0,0-1 0,1 0 0,-1 1 0,0-1 0,2 0 0,-3 3 0,-4 5 0,-2 1-1365</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0:47.453"/>
    </inkml:context>
    <inkml:brush xml:id="br0">
      <inkml:brushProperty name="width" value="0.035" units="cm"/>
      <inkml:brushProperty name="height" value="0.035" units="cm"/>
      <inkml:brushProperty name="color" value="#FFFFFF"/>
    </inkml:brush>
  </inkml:definitions>
  <inkml:trace contextRef="#ctx0" brushRef="#br0">252 1 24575,'0'0'0,"-9"7"0,6-5 0,0-1 0,0 1 0,-1-1 0,1 0 0,-1 0 0,1 0 0,-6 1 0,-27 1 0,16-2 0,-130 4 0,150-5-23,0 0 1,-1 0-1,1 0 0,0 0 0,0 0 1,0 0-1,0 0 0,-1 0 0,1 0 1,0 0-1,0 0 0,0 0 0,0 0 1,0 0-1,-1 0 0,1 0 0,0 0 1,0 0-1,0 0 0,0 0 0,0 0 1,0 0-1,-1 0 0,1 0 0,0 0 1,0-1-1,0 1 0,0 0 0,0 0 1,0 0-1,0 0 0,0 0 0,0 0 1,-1-1-1,1 1 0,0 0 0,0 0 1,0 0-1,0 0 0,0 0 0,0-1 1,0 1-1,0 0 0,0 0 0,0 0 1,0 0-1,0 0 0,0-1 0,0 1 0,0 0 1,0 0-1,0 0 0,0 0 0,1 0 1,-1-1-1,0 1 0,0 0 0,0 0 1,0 0-1</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1:11.842"/>
    </inkml:context>
    <inkml:brush xml:id="br0">
      <inkml:brushProperty name="width" value="0.035" units="cm"/>
      <inkml:brushProperty name="height" value="0.035" units="cm"/>
      <inkml:brushProperty name="color" value="#2FAE7A"/>
    </inkml:brush>
  </inkml:definitions>
  <inkml:trace contextRef="#ctx0" brushRef="#br0">522 251 24575,'-2'-1'0,"0"1"0,1-1 0,-1 1 0,0-1 0,1 0 0,-1 0 0,1 0 0,-2-1 0,-4-2 0,-2-1 0,-2 0 0,1-1 0,-1 0 0,1 0 0,-17-15 0,-53-51 0,55 47 0,-11-8 0,30 28 0,-1-1 0,0 0 0,-1 1 0,0 0 0,1 0 0,-2 0 0,-8-3 0,9 5 0,0 1 0,0-1 0,0 1 0,0 1 0,-1-1 0,-15 1 0,21 1 0,0 0 0,0 0 0,0 1 0,0-1 0,0 1 0,0 0 0,1 0 0,-1 0 0,0 0 0,1 0 0,-1 1 0,1-1 0,-1 1 0,1 0 0,0-1 0,0 1 0,-1 0 0,1 0 0,0 1 0,1-1 0,-1 0 0,0 1 0,-1 3 0,-36 75 0,34-67 0,0 0 0,1 0 0,1 1 0,-2 15 0,-6 43 0,7-33-659,2 41 0,2-81 612</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2:45.991"/>
    </inkml:context>
    <inkml:brush xml:id="br0">
      <inkml:brushProperty name="width" value="0.035" units="cm"/>
      <inkml:brushProperty name="height" value="0.035" units="cm"/>
    </inkml:brush>
  </inkml:definitions>
  <inkml:trace contextRef="#ctx0" brushRef="#br0">0 1806 24575,'0'0'0,"0"0"0,0 0 0,11-1 0,30-11 0,59-23 0,-38 11 0,-42 17 0,0-2 0,-1 0 0,0-2 0,-1 0 0,18-14 0,-8 2 0,0-1 0,27-32 0,3-16 0,-26 30 0,64-87 0,37-45 0,-70 108 0,-49 53 0,0 1 0,30-19 0,-38 27 0,0 1 0,0 0 0,0 0 0,0 1 0,11-4 0,-13 6 0,-1-1 0,1 1 0,0-1 0,0 1 0,0 0 0,-1 1 0,1-1 0,0 1 0,0-1 0,-1 1 0,6 2 0,2 2 0,1 0 0,-2 1 0,1 0 0,10 7 0,37 34 0,12 7 0,-62-49 0,0 0 0,0-1 0,1-1 0,-1 1 0,1-1 0,0-1 0,0 1 0,0-1 0,0-1 0,0 0 0,1 0 0,-1-1 0,0 0 0,0-1 0,1 0 0,-1 0 0,0-1 0,10-3 0,-5 0 0,0 0 0,0-1 0,0-1 0,-1 0 0,0-1 0,-1 0 0,1-1 0,-2 0 0,1-1 0,14-16 0,-20 19 0,-3 3 0,0 1 0,0-1 0,0 1 0,1-1 0,-1 1 0,1 0 0,0 1 0,0-1 0,0 1 0,8-4 0,-5 4 0,0-1 0,0 0 0,6-5 0,-7 5 0,-1 0 0,1 0 0,1 0 0,8-2 0,-7 4 0,-1-1 0,0 0 0,0 0 0,0-1 0,0 0 0,0 0 0,0 0 0,-1-1 0,11-8 0,-2-1 0,1-1 0,0 1 0,28-18 0,-33 24 0,0-1 0,17-16 0,-18 15 0,-1 1 0,1 0 0,12-7 0,-20 14 0,0 0 0,0 0 0,1 0 0,-1 1 0,0-1 0,0 0 0,0 1 0,0 0 0,1-1 0,-1 1 0,0 0 0,1 0 0,-1 0 0,0 0 0,3 1 0,-2 0 0,0 0 0,1 0 0,-1 1 0,0-1 0,0 1 0,-1-1 0,1 1 0,0 0 0,3 3 0,3 4 0,-1 1 0,0-1 0,0 1 0,8 14 0,-15-22 0,5 8 0,1-1 0,11 13 0,-14-18 0,0 0 0,0-1 0,0 0 0,0 0 0,1 0 0,-1 0 0,10 3 0,0 0 0,0-1 0,1-1 0,26 6 0,-35-10 0,0 1 0,0-1 0,0 0 0,0 0 0,0 0 0,0-1 0,0 0 0,0-1 0,0 1 0,0-1 0,0 0 0,7-4 0,0-2 0,-1 0 0,17-15 0,13-9 0,-37 29 0,0 0 0,1 0 0,-1 0 0,1 1 0,0 0 0,8-2 0,-12 3 0,-1 1 0,1-1 0,0 1 0,-1 0 0,1 0 0,0 0 0,-1 0 0,1 0 0,0 1 0,-1-1 0,1 0 0,-1 1 0,1-1 0,0 1 0,-1-1 0,1 1 0,-1 0 0,2 1 0,0 0 0,-1 0 0,0 0 0,0 1 0,0-1 0,0 1 0,0-1 0,0 1 0,1 5 0,7 11 0,-2 1 0,7 25 0,7 42 0,-1-3 0,15 26 0,15 55 0,-44-134 0,2 0 0,1 0 0,2-1 0,1 0 0,1-1 0,1 0 0,24 32 0,-29-48 0,0 0 0,0-1 0,23 19 0,-25-24 0,1-1 0,0 0 0,1 0 0,-1-1 0,1 0 0,16 5 0,-10-5 0,0-1 0,0-1 0,1 0 0,0-2 0,-1 0 0,29-1 0,-8-4 0,70-15 0,-80 13 0,-1-2 0,0 0 0,-1-2 0,0-1 0,27-16 0,-38 19 0,-1-1 0,-1 0 0,1-1 0,-2 0 0,1-1 0,-1 0 0,-1-1 0,0 0 0,-1-1 0,11-18 0,-17 25 0,-1 1 0,0-1 0,0 1 0,0-1 0,-1 1 0,1-9 0,0-36 0,-2 35 0,4-26 0,-2 30 0,1 0 0,0 0 0,1 0 0,1 1 0,-1-1 0,2 1 0,-1 1 0,1-1 0,1 1 0,12-15 0,-8 12 0,1 1 0,0 0 0,0 1 0,1 1 0,0-1 0,1 2 0,14-7 0,19-3 0,-34 14 0,-1-1 0,0 0 0,20-11 0,-28 12 0,0 1 0,0-1 0,0 0 0,0 1 0,-1-2 0,0 1 0,0 0 0,0-1 0,0 1 0,2-7 0,2-8 0,8-24 0,-6 9 0,9-64 0,-5-36 0,-7 49 0,23-145 0,-20 185 0,1 1 0,3 1 0,19-48 0,28-35 0,-48 104 0,1 1 0,1 0 0,26-28 0,-36 44 0,0 1 0,0 1 0,1-1 0,-1 0 0,8-3 0,-11 6 0,0 0 0,0 1 0,0-1 0,0 1 0,0 0 0,0-1 0,0 1 0,0 0 0,0-1 0,0 1 0,0 0 0,0 0 0,0 0 0,1 0 0,-1 0 0,0 0 0,0 0 0,0 0 0,0 1 0,0-1 0,0 0 0,0 1 0,0-1 0,0 1 0,0-1 0,0 1 0,0-1 0,-1 1 0,1 0 0,0-1 0,0 1 0,0 0 0,-1-1 0,1 1 0,0 0 0,0 2 0,2 3 0,0 0 0,0 0 0,0 0 0,2 12 0,4 28 0,-7-32 0,11 68 0,13 59 0,-20-118 0,1-1 0,0 1 0,2-1 0,13 23 0,-15-32 0,1-1 0,0 0 0,1 0 0,0-1 0,14 14 0,-15-18 0,0 0 0,0-1 0,1 0 0,0-1 0,0 0 0,1 0 0,-1 0 0,12 2 0,23 5 0,-29-8 0,0 0 0,-1 1 0,24 10 0,-36-14 0,0 0 0,0 0 0,0 1 0,0-1 0,-1 0 0,1 1 0,0-1 0,-1 1 0,1 0 0,-1 0 0,1 0 0,-1-1 0,0 1 0,0 0 0,0 1 0,0-1 0,0 0 0,0 0 0,0 0 0,-1 1 0,1-1 0,-1 4 0,3 6 0,-1 0 0,2 1 0,-1-2 0,12 24 0,-10-22 0,-3-8 0,1-1 0,-1 1 0,1 0 0,0-1 0,1 1 0,-1-1 0,0 0 0,1 0 0,0 0 0,0-1 0,0 0 0,1 1 0,6 2 0,0 0 0,0-1 0,1 0 0,0-1 0,20 4 0,0-1 0,-22-6 0,1 1 0,0 1 0,-1 0 0,1 0 0,16 9 0,-24-11 0,-1 1 0,0 0 0,1 0 0,-1 0 0,0 0 0,0 0 0,0 0 0,0 1 0,-1-1 0,1 1 0,0-1 0,-1 1 0,0-1 0,0 1 0,0 0 0,0 0 0,1 5 0,0 3 0,-1 1 0,0-1 0,-1 16 0,0 1 0,0-25 0,4 45 0,-4-43 0,1-1 0,0 1 0,1-1 0,-1 0 0,1 1 0,0-1 0,0 0 0,3 6 0,-3-8 0,0-1 0,0 1 0,0 0 0,0-1 0,0 1 0,0-1 0,0 0 0,1 0 0,-1 1 0,0-2 0,1 1 0,-1 0 0,1 0 0,-1-1 0,1 1 0,-1-1 0,4 0 0,4 0 0,-1 0 0,1 0 0,11-3 0,-6 0 0,1-1 0,-1 0 0,-1-1 0,1-1 0,15-8 0,68-44 0,-66 37 0,-16 11 0,-11 6 0,0 1 0,0 0 0,0 0 0,0 0 0,1 0 0,-1 1 0,7-2 0,-10 4 0,0 0 0,0 0 0,0 0 0,-1 0 0,1 0 0,0 0 0,0 1 0,-1-1 0,1 1 0,0 0 0,1 0 0,19 11 0,-17-8 0,-3-4 0,3 4 0,0-1 0,0-1 0,0 1 0,1-1 0,0 0 0,8 3 0,-2-4 0,1 1 0,-1-1 0,1-1 0,16-1 0,-17-2-1365</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13:41.064"/>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0 1,'0'743,"0"-743,2 20,-2-19,1 0,-1 0,0 0,1 0,-1 0,1 0,-1 0,1 0,-1-1,1 1,0 0,-1 0,1 0,0-1,0 1,0 0,1 0,3 1</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13:44.129"/>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279 40,'-62'1,"-66"-2,124 1,1-1,0 1,-1-1,1 0,-1 0,1 0,0 0,0-1,0 1,0-1,0 0,-3-2,-5-3,-10-4,9 7</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04.126"/>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125 0,'-10'41,"-2"0,-17 40,24-68,-2 0,0 0,-15 20,20-29,0-1,0 1,0 0,0-1,0 1,1 0,0 0,0 0,0 0,1 1,-1-1,1 0,0 5,-1 6,-6 23,4-26,1 1,-1 22,3-26,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13:54.304"/>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1 1,'0'172,"0"-170,0 0,0 1,0-1,0 0,1 0,-1 1,1-1,0 0,-1 0,3 4,-2-5,0 0,-1 0,1 0,0 0,0 0,0 0,0 0,1-1,-1 1,0 0,0-1,0 1,1 0,-1-1,0 0,1 1,-1-1,0 0,3 1,5-1,0 1,-1-1,1 0,0-1,16-2,-24 2,0 1,0-1,-1 1,1 0,0-1,0 0,-1 1,1-1,0 1,-1-1,1 0,-1 1,1-1,-1 0,1 0,-1 0,1 1,-1-1,0 0,1 0,-1 0,0 0,0 0,0 1,0-1,1-2,-2 11,0 6,0 0,1 0,0 0,5 25,-3-29,-1-5,1 1,-1-1,4 8,-4-11,0-1,0 1,0-1,0 1,0-1,1 0,-1 1,0-1,0 0,1 0,-1 0,1 0,-1 0,1 0,2 0,-2 1,1-1,-1 1,1-1,-1 1,1 0,-1-1,0 1,0 1,0-1,0 0,0 0,-1 1,1-1,-1 1,1-1,-1 1,0 0,0-1,1 7,0 1,0 0,-1 0,0 1,0 12,-2 272,1-289,1-1,0 1,2 9,2 10,-4 38,-1-2,6-32,-4-22,0 0,-1 0,0 8,-1 6,0-17,0-14,0 8,-2-40,1 38,1-1,-1 0,-1 1,1-1,-1 1,-4-8,0-1,0 0,0 0,-4-18,-8-42,3 9,10 45,1 1,0-2,2 1,-1-36,3-149,0 201,0 0,0 1,0-1,-2-6,2 9,0-1,0 1,-1-1,1 1,0-1,0 1,0 0,-1-1,1 1,0-1,0 1,-1 0,1-1,0 1,-1 0,1-1,0 1,-1 0,1 0,-1-1,1 1,0 0,-1 0,1 0,-1-1,1 1,-1 0,1 0,-1 0,1 0,0 0,-1 0,1 0,-1 0,1 0,-1 0,1 0,-1 0,1 1,-1-1,-4 2,0 1,0-1,0 1,0 0,1 1,0-1,-1 1,1 0,1 0,-1 0,0 0,1 0,0 1,0 0,1 0,-1 0,1 0,0 0,0 0,0 0,1 1,-1 6,2 73,1-38,-2 25,2 74,2-110,0 18,-2-35,0-1,4 25,-3-30,0 18,-2-20,1 0,3 20,-2-26,-2-1,1-1,0 1,1 0,2 5,-3-8,0 0,-1 1,1-1,0 0,1 0,-1 0,0 0,0 0,0 0,1 0,-1-1,0 1,1 0,-1-1,2 1,3 1,-1 0,0-1,-1 1,1 0,-1 0,1 0,-1 1,7 4,-9-5,0-1,1 1,-1-1,0 0,0 0,1 0,-1 0,0-1,1 1,-1-1,1 1,-1-1,1 0,-1 0,4 0,-5 0,1 0,-1 0,0-1,1 1,-1 0,0-1,0 1,1 0,-1-1,0 0,0 1,0-1,0 0,1 1,-1-1,0 0,0 0,-1 0,1 0,0 0,0 0,0 0,-1 0,1 0,0-1,-1 1,1 0,-1 0,1-3,0-6,-1-1,0 1,-2-18,3 37,-1-1,1 1,-2 0,0 0,-2 14,2-20,0-1,0 1,-1-1,1 1,0-1,-1 1,0-1,1 0,-1 0,0 0,0 0,0 0,0 0,-1-1,1 1,0 0,-1-1,1 0,-1 0,1 0,-1 0,0 0,1 0,-5 0,-4 1,-1 1,0 0,-21 0,14-3,18 0,1 0,11 0,-10 0,10 0,0 0,1 0,-1 1,20 5,-23-4,-1-1,1 0,12 0,-14-1,0 0,0 1,0 0,0 0,0 0,9 3,-15-4,0 0,0 0,1 0,-1 0,0 0,0 0,0 0,1 0,-1 0,0 0,0 0,1 0,-1 0,0 0,0 0,0 0,0-1,1 1,-1 0,0 0,0 0,0 0,0 0,1-1,-1 1,0 0,0 0,0 0,0 0,0-1,0 1,0 0,1 0,-1 0,0-1,0 1,0 0,0 0,0-1,0 1,0 0,0 0,0 0,0-1,0 1,-1 0,1-15,0 12,-1-47,5-55,-2-20,-3 73,2 51,-1 1,0 0,0-1,0 1,0-1,0 1,0 0,0-1,0 1,0 0,0-1,-1 1,1 0,0-1,0 1,0 0,0-1,-1 1,1 0,0-1,0 1,0 0,-1-1,1 1,-1 0,1 0,-1 0,1 0,0 0,-1 0,1 0,0 0,-1 1,1-1,0 0,-1 0,1 0,0 0,-1 1,1-1,0 0,0 0,-1 1,1-1,-3 3,1 0,0 1,-4 4,6-6,-1 0,0 0,0 0,-1 0,1-1,0 1,-1 0,1-1,-1 1,1-1,-1 1,1-1,-1 0,0 0,0 0,0 0,0 0,0 0,0 0,-4 0,-10 4,-1-1,0-1,1 0,-20 0,26-3</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13:57.803"/>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157 262,'-13'-5,"-3"-1,13 5,1-1,-1 0,1 0,-1 0,1 0,0 0,-1 0,1-1,-2-3,2 2,0 0,0 0,0-1,1 1,-2-8,2 7,-1 0,1 1,-1-1,1 1,-1-1,-1 1,1 0,0 0,-1 0,0 0,0 0,-7-6,4 4,1 0,0-1,0 1,0-1,1 0,0 0,0-1,1 1,0-1,0 0,1 0,0 0,-2-11,4 17,0 1,0 0,1 0,-1 0,0 0,0-1,0 1,1 0,-1 0,1 0,-1 0,2-2,-2 3,0 0,0 0,0 0,0-1,1 1,-1 0,0 0,0 0,0 0,0-1,1 1,-1 0,0 0,0 0,1 0,-1 0,0 0,0 0,1-1,-1 1,0 0,0 0,1 0,-1 1,1-1,-1 0,0 0,1 0,-1 1,1-1,-1 0,0 0,1 1,-1-1,0 0,0 1,1-1,-1 0,0 1,0-1,1 0,-1 1,0 0,4 6,-2-2,1 0,-1-1,6 8,-6-11,-1 1,0-1,1 0,0 1,-1-1,1 0,0 0,-1 0,1 0,0 0,0 0,0-1,3 1,68 13,-67-12</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14:05.922"/>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115 35,'0'1,"0"1,0-1,0 0,-1 0,1 0,0 0,-1 0,1 0,-1 0,1 0,-1 0,1 0,-1 0,0 0,1 0,-1 0,0 0,0-1,0 1,-1 1,-2 0,0 1,-1 0,-6 2,0 0,7-3,0-1,0 1,0-1,0 1,0-1,-9 1,12-2,0 0,0 0,0 0,0 0,0 0,0 0,0 0,0-1,0 1,0 0,0 0,0-1,0 1,0-1,0 1,0-1,0 1,1-1,-1 0,0 1,0-1,0 0,1 0,-1 1,0-1,1 0,-1 0,1 0,-1 0,1 0,0 0,-1-1,-1-6,1 1,1-1,-1 0,1 1,1-1,2-14,1 38,-3 11,-1-17,1 0,0-1,0 1,1 0,4 13,-2-10,3 17,-3-15,-1 1,-1-1,-1 1,-1 31,-1-25,3 27,0-26,-2 30,1 17,0-61,5 15,-1-3,2 7,-4-20,-1-1,0 1,1 12,-2-13,0 0,2 8,-2-10,1-1,-1 1,-1-1,1 1,-1 0,0-1,0 9,-2-7,1 0,-5 9,-2 11,7-21,0 0,-1 0,-4 9,4-9,0 0,-3 9,3-3,0-1</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4:10.461"/>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5 1 0,'0'735'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14:42.178"/>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78 1,'-3'0,"-1"0,1 0,-1 1,1-1,0 1,-1 0,1 0,0 0,0 1,0-1,0 1,0-1,-5 5,4-1,4-4,0 0,-1-1,1 1,-1 0,1-1,-1 1,1 0,-1-1,1 1,-1-1,1 0,-2 2,0 0,0-1,1 1,-1 1,1-1,0 0,0 0,-1 0,2 1,-1-1,0 0,0 1,0 2,1 43,0-24,0-2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5:57.179"/>
    </inkml:context>
    <inkml:brush xml:id="br0">
      <inkml:brushProperty name="width" value="0.035" units="cm"/>
      <inkml:brushProperty name="height" value="0.035" units="cm"/>
      <inkml:brushProperty name="color" value="#00A0D7"/>
    </inkml:brush>
  </inkml:definitions>
  <inkml:trace contextRef="#ctx0" brushRef="#br0">1 504 24575,'0'-2'0,"0"0"0,0 1 0,1-1 0,-1 1 0,1-1 0,-1 0 0,1 1 0,0-1 0,-1 1 0,1-1 0,0 1 0,0 0 0,0-1 0,0 1 0,2-2 0,3-2 0,-1 0 0,9-5 0,-3 1 0,1-1 0,0 0 0,-1 0 0,0-2 0,-1 1 0,0-1 0,15-26 0,-21 31 0,0 0 0,-1-1 0,0 1 0,0-1 0,0 0 0,-1 0 0,-1 0 0,2-10 0,-1 5 0,1-1 0,1 1 0,0-1 0,1 1 0,6-13 0,2-3 0,-5 9 0,16-30 0,-18 40 0,0 1 0,1 0 0,0 0 0,15-14 0,-20 21 0,0 1 0,0-1 0,0 1 0,0 0 0,0 0 0,0 0 0,0 0 0,0 0 0,1 1 0,-1-1 0,0 1 0,4-1 0,3 0 0,0 1 0,10 1 0,-1-1 0,-16 1 0,-1-1 0,1 1 0,0-1 0,-1 1 0,1-1 0,-1 1 0,0 0 0,2 1 0,6 2 0,-6-2 0,1 0 0,-1 0 0,0 0 0,1 0 0,-1 1 0,0-1 0,-1 1 0,1 0 0,3 3 0,-4-3 0,1 0 0,0 0 0,0 0 0,0 0 0,0-1 0,0 1 0,1-1 0,5 3 0,-3-3 0,-1 0 0,0-1 0,1 0 0,0 0 0,8 0 0,30-2 0,-35 1 0,71-4-1365</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05.428"/>
    </inkml:context>
    <inkml:brush xml:id="br0">
      <inkml:brushProperty name="width" value="0.035" units="cm"/>
      <inkml:brushProperty name="height" value="0.035" units="cm"/>
      <inkml:brushProperty name="color" value="#00A0D7"/>
    </inkml:brush>
  </inkml:definitions>
  <inkml:trace contextRef="#ctx0" brushRef="#br0">1 27 24575,'9'0'0,"1"-1"0,-1-1 0,0 0 0,17-5 0,-15 3 0,1 1 0,13-2 0,-16 4 0,-1 0 0,0 1 0,0 0 0,15 2 0,-19-1 0,0 0 0,-1 0 0,1 0 0,0 0 0,0 1 0,-1-1 0,1 1 0,-1 0 0,0 0 0,1 1 0,5 4 0,0 3 0,0-1 0,-1 2 0,0-1 0,10 19 0,-14-22-136,0 0-1,1-1 1,-1 0-1,1 0 1,1 0-1,-1 0 1,1-1-1,0 0 0,10 7 1</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15.481"/>
    </inkml:context>
    <inkml:brush xml:id="br0">
      <inkml:brushProperty name="width" value="0.035" units="cm"/>
      <inkml:brushProperty name="height" value="0.035" units="cm"/>
      <inkml:brushProperty name="color" value="#FFFFFF"/>
    </inkml:brush>
  </inkml:definitions>
  <inkml:trace contextRef="#ctx0" brushRef="#br0">229 76 24575,'-19'19'0,"1"1"0,1 0 0,1 2 0,1 0 0,-20 40 0,32-53 0,3-9 0,0 0 0,0 0 0,0 0 0,0 0 0,0 0 0,0 0 0,0 0 0,0 0 0,0 0 0,0 0 0,0 0 0,0 0 0,0 0 0,0 1 0,0-1 0,0 0 0,0 0 0,0 0 0,0 0 0,0 0 0,0 0 0,0 0 0,0 0 0,0 0 0,0 0 0,0 0 0,0 0 0,0 0 0,0 0 0,1 0 0,-1 0 0,0 0 0,0 0 0,0 0 0,0 0 0,0 0 0,0 0 0,0 0 0,0 0 0,0 0 0,0 0 0,0 0 0,0 0 0,0 0 0,0 0 0,0 0 0,0 0 0,0 0 0,0 0 0,1 0 0,-1 0 0,0 0 0,0 0 0,0 0 0,0 0 0,0 0 0,0 0 0,0 0 0,0 0 0,0 0 0,0 0 0,12-11 0,-7 7 0,51-51 0,-32 30 0,1 1 0,48-35 0,-73 59 0,11-6 0,-7 5 0,-4 1 0,0 0 0,0 0 0,1 0 0,-1 0 0,0 0 0,0 1 0,0-1 0,0 0 0,0 0 0,0 0 0,0 0 0,0 0 0,0 0 0,0 1 0,0-1 0,0 0 0,0 0 0,0 0 0,0 0 0,0 0 0,0 0 0,0 1 0,0-1 0,0 0 0,0 0 0,0 0 0,0 0 0,-1 0 0,1 0 0,0 0 0,0 1 0,0-1 0,-11 21 0,-15 23 0,3-7 0,8-9 0,-20 33 0,27-50 0,0 1 0,-18 18 0,41-55 0,137-177 0,-152 201 0,1 1 0,-1-1 0,1 1 0,-1-1 0,1 0 0,-1 1 0,1-1 0,0 1 0,-1-1 0,1 1 0,0 0 0,0-1 0,-1 1 0,0 1 0,0 0 0,0 0 0,0-1 0,0 1 0,0 0 0,0-1 0,0 1 0,0 0 0,0-1 0,-1 1 0,1 0 0,0-1 0,-1 1 0,0 1 0,-10 24 0,-2 0 0,-21 32 0,-38 44 0,70-98 0,-83 107 0,-8-7 0,92-103 0,0 0 0,0 0 0,0 0 0,0-1 0,0 1 0,0 0 0,0 0 0,-2 0 0,3-1 0,0 0 0,0 0 0,0 0 0,0 0 0,-1 0 0,1 0 0,0 0 0,0 0 0,0 0 0,0 0 0,0-1 0,0 1 0,0 0 0,0 0 0,0 0 0,0 0 0,-1 0 0,1 0 0,0 0 0,0 0 0,0 0 0,0-1 0,0 1 0,0 0 0,0 0 0,0 0 0,0 0 0,0 0 0,0 0 0,0 0 0,0 0 0,0-1 0,0 1 0,0 0 0,0 0 0,0 0 0,0 0 0,0 0 0,0 0 0,0 0 0,0-1 0,0 1 0,0 0 0,0 0 0,0 0 0,0 0 0,1 0 0,-1 0 0,10-24 0,-9 21 0,28-52 0,43-63 0,43-44 0,-114 161 0,20-29 0,37-45 0,-61 78 0,1 0 0,0 0 0,1 0 0,-4 6 0,-2 6 0,-101 189 0,-76 131 0,179-329 0,6-11 0,6-13 0,165-351 0,-160 343 0,4-8 0,1 1 0,42-60 0,-58 92 0,0 0 0,0-1 0,0 1 0,0 0 0,0 0 0,0 0 0,0 0 0,2-1 0,-3 2 0,1 0 0,-1 0 0,0 0 0,0 0 0,0 0 0,0 0 0,0 0 0,0 0 0,0 0 0,0 0 0,0 0 0,0 0 0,0 0 0,0 0 0,0 0 0,1 0 0,-1 0 0,0 0 0,0 0 0,0 0 0,0 0 0,0 1 0,0-1 0,0 0 0,0 0 0,0 0 0,0 0 0,0 0 0,0 0 0,0 0 0,0 0 0,0 0 0,0 0 0,0 0 0,0 0 0,0 0 0,0 0 0,0 0 0,0 1 0,0-1 0,0 0 0,0 0 0,0 0 0,0 0 0,0 0 0,0 0 0,0 0 0,0 0 0,0 0 0,0 0 0,0 0 0,0 0 0,0 1 0,-3 9 0,-79 145 0,58-112 0,-169 299 0,290-512 0,131-172 0,-223 336 0,12-18 0,26-26 0,-42 49 0,10-8 0,-11 8 0,0 1 0,1 0 0,-1 0 0,0 0 0,0 0 0,0 0 0,1 0 0,-1 0 0,0-1 0,0 1 0,0 0 0,1 0 0,-1 0 0,0 0 0,0 0 0,0 0 0,1 0 0,-1 0 0,0 0 0,0 0 0,1 0 0,-1 0 0,0 1 0,0-1 0,0 0 0,1 0 0,-1 0 0,0 0 0,0 0 0,0 0 0,0 0 0,1 0 0,-1 1 0,0-1 0,0 0 0,0 0 0,0 0 0,1 0 0,-1 1 0,0-1 0,0 0 0,0 0 0,0 0 0,0 1 0,0-1 0,0 0 0,0 0 0,0 0 0,0 1 0,0-1 0,0 0 0,0 0 0,0 1 0,0-1 0,0 0 0,0 0 0,1 9 0,-2 0 0,1 0 0,-1 0 0,0 0 0,-3 11 0,0-1 0,-54 248 0,57-263 0,-2 5 0,1 0 0,-2 0 0,1-1 0,-6 10 0,5-14 0,2-5 0,0-11 0,18-105 0,-8 67 0,-7 42 0,15-125 0,-15 127 0,0 8 0,3 9 0,0 11 0,0-1 0,0 23 0,-1 45 0,-3-81 0,0 10 0,1 3 0,-1 0 0,-1 0 0,-7 38 0,8-59 0,0 0 0,0 0 0,0 0 0,0 0 0,0 0 0,1 0 0,-1 0 0,0 0 0,0 0 0,0 1 0,0-1 0,0 0 0,0 0 0,0 0 0,0 0 0,0 0 0,0 0 0,0 0 0,0 0 0,0 0 0,-1 0 0,1 0 0,0 0 0,0 0 0,0 0 0,0 0 0,0 0 0,0 0 0,0 0 0,0 0 0,0 0 0,0 0 0,0 1 0,0-1 0,0 0 0,0 0 0,0 0 0,0 0 0,0 0 0,0 0 0,0 0 0,0 0 0,0 0 0,0 0 0,0 0 0,0 0 0,0 0 0,0 0 0,-1 0 0,1 0 0,0 0 0,0 0 0,0 0 0,0 0 0,0 0 0,0 0 0,0 0 0,0 0 0,0 0 0,0 0 0,0 0 0,0 0 0,0 0 0,0 0 0,0 0 0,0-1 0,0 1 0,0 0 0,0 0 0,-2-5 0,-1-9 0,-17-140 0,17 109 0,4-65 0,-1 106 0,1-3 0,-1 0 0,4-13 0,-3 17 0,1 3 0,1 8 0,4 20 0,-2 0 0,0 1 0,-1 31 0,-1-26 0,3 54 0,13 110 0,-19-198 0,0 0 0,0 0 0,0 0 0,0 0 0,0 0 0,0 0 0,0 0 0,0 0 0,0 0 0,0 0 0,0-1 0,0 1 0,0 0 0,0 0 0,0 0 0,0 0 0,0 0 0,0 0 0,0 0 0,0 0 0,0 0 0,0 0 0,0 0 0,1 0 0,-1 0 0,0 0 0,0 0 0,0 0 0,0 0 0,0 0 0,0 0 0,0 0 0,0 0 0,0 0 0,0 0 0,0 0 0,0 0 0,0 0 0,0 0 0,0 0 0,0 0 0,0 0 0,0 0 0,0 0 0,0 0 0,0 0 0,0 0 0,0 0 0,0 0 0,2-5 0,1-9 0,-2-1 0,0 0 0,-1 0 0,0 0 0,-1 0 0,-1 0 0,-1 0 0,0 0 0,0 0 0,-2 1 0,-9-23 0,11 31 0,3 6 0,0 0 0,0 0 0,0 0 0,0 0 0,0 0 0,0 0 0,0 0 0,0 0 0,0 0 0,0 0 0,0 0 0,0 0 0,0 0 0,0 0 0,0 0 0,0 0 0,0 0 0,7 11 0,4 12 0,-1 0 0,14 48 0,3 53 0,-27-124 0,4 20 0,0 19 0,-7-57-1365,1-4-5461</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16.329"/>
    </inkml:context>
    <inkml:brush xml:id="br0">
      <inkml:brushProperty name="width" value="0.035" units="cm"/>
      <inkml:brushProperty name="height" value="0.035" units="cm"/>
      <inkml:brushProperty name="color" value="#FFFFFF"/>
    </inkml:brush>
  </inkml:definitions>
  <inkml:trace contextRef="#ctx0" brushRef="#br0">18 57 24575,'0'-2'0,"0"0"0,-1 0 0,1 1 0,-1-1 0,1 0 0,-3-2 0,0-3 0,2 3 0,-1-2 0,0-1 0,-2-10 0,32 183 0,-21-119 0,15 133 0,-42-411 0,11 160 0,18 96 0,8 42 0,15 133 0,-55-358 0,20 141 0,1 8 0,1 0 0,-2 0 0,1 0 0,-1 0 0,-6-10 0,18 36 0,-2 0 0,0 1 0,9 36 0,-10-29 0,26 78-1365,-28-90-5461</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19.276"/>
    </inkml:context>
    <inkml:brush xml:id="br0">
      <inkml:brushProperty name="width" value="0.035" units="cm"/>
      <inkml:brushProperty name="height" value="0.035" units="cm"/>
      <inkml:brushProperty name="color" value="#FFFFFF"/>
    </inkml:brush>
  </inkml:definitions>
  <inkml:trace contextRef="#ctx0" brushRef="#br0">409 155 24575,'0'0'0,"-13"0"0,-193-15 0,180 12 0,17 3 0,-50-8 0,50 6 0,0 0 0,1 0 0,-1-1 0,-12-6 0,19 8 0,1-1 0,-1 1 0,1 0 0,-1 0 0,1-1 0,0 1 0,0 0 0,0-1 0,0 1 0,0-1 0,0 0 0,0 1 0,0-3 0,-1 0 0,0 0 0,1-1 0,0 1 0,-1-6 0,2 9 0,0 0 0,0 1 0,1-1 0,-1 0 0,0 1 0,0-1 0,0 1 0,0-1 0,0 0 0,1 1 0,-1-1 0,0 1 0,0-1 0,1 1 0,-1-1 0,1 1 0,-1-1 0,0 1 0,1-1 0,-1 1 0,1-1 0,-1 1 0,1-1 0,-1 1 0,1 0 0,-1 0 0,1-1 0,0 1 0,2-1 0,0 0 0,0 0 0,0 0 0,6-1 0,1 1 0,1 1 0,-1 0 0,1 0 0,-1 1 0,21 4 0,51 19 0,33 26 0,-57-23 0,-50-23 0,-5-2 0,0-1 0,0 1 0,1-1 0,-1 1 0,0-1 0,1 0 0,0-1 0,-1 1 0,7 0 0,-30-9 0,-90-19 0,-9-2 0,100 24 0,2-2 0,-1 0 0,0-1 0,-21-14 0,38 21 0,-9-6 0,10 4 0,6 2 0,4 1 0,1 1 0,-1 1 0,0 0 0,11 3 0,41 16 0,-47-16 0,6 2 0,-8-3 0,0 1 0,22 11 0,-59-19 0,-17-6 0,0-3 0,0-1 0,-53-26 0,146 69 0,-30-19 0,0-1 0,1-1 0,32 8 0,-70-21 0,0 0 0,0-1 0,-22-12 0,-42-26 0,27 14 0,45 24 0,9 5 0,15 7 0,-12-5 0,9 3 0,0 1 0,-1 1 0,0 0 0,0 1 0,14 11 0,-26-19 0,0 1 0,-1-1 0,1 1 0,-1-1 0,1 1 0,0 0 0,-1-1 0,0 1 0,1-1 0,-1 1 0,1 1 0,-1-2 0,0 0 0,0 0 0,0 0 0,0 0 0,0 1 0,0-1 0,0 0 0,0 0 0,0 0 0,0 0 0,0 0 0,0 0 0,0 0 0,0 1 0,0-1 0,0 0 0,0 0 0,-1 0 0,1 0 0,0 0 0,0 0 0,0 0 0,0 0 0,0 0 0,0 1 0,0-1 0,0 0 0,-1 0 0,1 0 0,0 0 0,0 0 0,0 0 0,0 0 0,0 0 0,0 0 0,-1 0 0,1 0 0,0 0 0,-2 0 0,-1 0 0,1 0 0,0 0 0,-1 0 0,-3-2 0,-8-1-227,1-2-1,0 0 1,0 0-1,1-1 1,-24-15-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06.722"/>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10 1,'0'3,"-1"0,1 0,-1 0,-1 4,-2 8,3 95,2-60,-1 401,0-445,1-1,0 1,0 0,0-1,4 9,-1 1,-2-9</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24.361"/>
    </inkml:context>
    <inkml:brush xml:id="br0">
      <inkml:brushProperty name="width" value="0.035" units="cm"/>
      <inkml:brushProperty name="height" value="0.035" units="cm"/>
      <inkml:brushProperty name="color" value="#FFFFFF"/>
    </inkml:brush>
  </inkml:definitions>
  <inkml:trace contextRef="#ctx0" brushRef="#br0">931 292 24575,'-1'1'0,"0"-1"0,0 1 0,0 0 0,-1-1 0,1 1 0,0-1 0,-1 1 0,1-1 0,0 0 0,-1 0 0,1 1 0,0-1 0,-1 0 0,1 0 0,0 0 0,-2-1 0,-25-3 0,24 3 0,-22-6 0,0 0 0,0-2 0,-44-22 0,60 25 0,1 1 0,-18-14 0,23 16 0,0-1 0,0 1 0,1-1 0,-1 0 0,1 0 0,0 0 0,0-1 0,-3-5 0,6 10 0,0 0 0,-1-1 0,1 1 0,0 0 0,0-1 0,0 1 0,0 0 0,0-1 0,0 1 0,-1 0 0,1-1 0,0 1 0,0 0 0,0-1 0,0 1 0,0 0 0,0-1 0,0 1 0,1-1 0,-1 1 0,0 0 0,0-1 0,0 1 0,0 0 0,0-1 0,0 1 0,1 0 0,-1-1 0,0 1 0,0 0 0,0 0 0,1-1 0,-1 1 0,0 0 0,1 0 0,-1-1 0,0 1 0,0 0 0,1 0 0,-1 0 0,0 0 0,1-1 0,-1 1 0,0 0 0,1 0 0,-1 0 0,0 0 0,1 0 0,-1 0 0,0 0 0,1 0 0,-1 0 0,1 0 0,3 0 0,0 0 0,1 0 0,6 2 0,-8-1 0,46 9 0,0 2 0,51 21 0,-45-14 0,61 13 0,-106-31 0,-9-1 0,-6 0 0,-210-25 0,99-2 0,68 15 0,40 10 0,2 1 0,1 0 0,0-1 0,-1 1 0,1-1 0,0 0 0,0-1 0,-8-4 0,13 7 0,0 0 0,0 0 0,0 0 0,0 0 0,0 0 0,-1-1 0,1 1 0,0 0 0,0 0 0,0 0 0,0 0 0,0 0 0,0 0 0,0 0 0,0-1 0,-1 1 0,1 0 0,0 0 0,0 0 0,0 0 0,0 0 0,0-1 0,0 1 0,0 0 0,0 0 0,0 0 0,0 0 0,0-1 0,0 1 0,0 0 0,5-2 0,7 2 0,18 5 0,0 0 0,58 19 0,-98-26 0,0 0 0,-18-1 0,-2 0 0,-60-15 0,47 8 0,43 10 0,0 0 0,0 0 0,0 0 0,-1 0 0,1-1 0,0 1 0,0 0 0,0 0 0,0 0 0,0 0 0,-1 0 0,1 0 0,0 0 0,0 0 0,0 0 0,0 0 0,0 0 0,-1 0 0,1 0 0,0 0 0,0 0 0,0 1 0,0-1 0,0 0 0,0 0 0,-1 0 0,1 0 0,0 0 0,0 0 0,0 0 0,0 0 0,0 0 0,0 0 0,0 1 0,0-1 0,-1 0 0,1 0 0,0 0 0,0 0 0,0 0 0,0 0 0,0 1 0,0-1 0,0 0 0,0 0 0,0 0 0,0 0 0,0 0 0,0 1 0,0-1 0,0 0 0,0 0 0,0 0 0,0 0 0,0 0 0,0 1 0,0-1 0,0 1 0,0-1 0,0 0 0,0 1 0,0-1 0,0 1 0,0-1 0,0 1 0,0-1 0,0 0 0,0 1 0,-1-1 0,1 0 0,0 1 0,0-1 0,0 1 0,-1-1 0,1 0 0,0 1 0,-1-1 0,1 0 0,0 0 0,-1 1 0,1-1 0,0 0 0,-1 0 0,1 1 0,0-1 0,-1 0 0,1 0 0,-1 0 0,1 0 0,-1 1 0,-5 0 0,0 0 0,1 0 0,-1 0 0,0 0 0,0-1 0,0 0 0,-9-1 0,3-1 0,1 0 0,-22-7 0,22 5 0,0 0 0,-1-1 0,2 0 0,-1-1 0,1 0 0,0-1 0,0 0 0,1-1 0,0 0 0,0 0 0,1-1 0,-10-12 0,9 8 0,2 3 0,-11-12 0,16 20 0,0 0 0,0 0 0,0 0 0,0 0 0,-1 0 0,1 0 0,-1 1 0,0-1 0,1 1 0,-6-2 0,7 3 0,0 0 0,0 0 0,-1 0 0,1 0 0,0 0 0,0 0 0,-1 0 0,1 0 0,0 0 0,0 1 0,-1-1 0,1 1 0,0-1 0,0 1 0,0-1 0,0 1 0,0-1 0,0 1 0,0 0 0,0 0 0,0 0 0,0-1 0,-1 3 0,-2 2 0,0 0 0,0 1 0,-4 7 0,6-10 0,-13 27 0,0 1 0,2 0 0,-11 39 0,-17 101 0,38-155 0,0-4 0,-4 18 0,19-69 0,13-68 0,-4-45 0,-4 31 0,-17 116 0,1 2 0,-1 1 0,0 0 0,1-1 0,-1 1 0,1 0 0,2-4 0,-2 7 0,1 4 0,1 7 0,-2 22 0,-1 0 0,-9 63 0,6-77 0,-19 120 0,17-117 0,-1 0 0,-2-1 0,-19 43 0,26-63 0,0-1 0,0 1 0,1-1 0,-1 0 0,0 1 0,0-1 0,-2 3 0,2-7 0,1 1 0,0 0 0,0-1 0,1 1 0,0-4 0,55-268 0,-55 270 0,0 2 0,0 1 0,-1-1 0,0 0 0,1 1 0,-1-1 0,0 0 0,0 0 0,0 1 0,0-1 0,0 0 0,-1-2 0,2 6 0,0 0 0,-1 0 0,1 0 0,-1 0 0,1 0 0,-1 1 0,0-1 0,0 0 0,0 0 0,-1 4 0,1 0 0,-3 41 0,-2 0 0,-2 0 0,-14 52 0,19-93 0,1-3 0,1 0 0,-1 0 0,0 0 0,0 0 0,0-1 0,0 1 0,-3 4 0,5-9 0,0 0 0,0 0 0,0 0 0,-1 0 0,1 0 0,-1-3 0,2-4 0,79-301 0,-79 305 0,-2 3 0,1 0 0,-1-1 0,1 1 0,-1 0 0,0 0 0,1 0 0,-1 0 0,-1-3 0,2 28 0,-1-9 0,1 14 0,-2 0 0,-1 0 0,-1 0 0,-1 0 0,-2 0 0,0-1 0,-19 47 0,-32 45 0,10-24 0,40-82 0,-4 1 0,9-12 0,1-1 0,-1 1 0,1 0 0,0-1 0,-1 1 0,1 0 0,-1 3 0,2-5 0,0 0 0,0 0 0,1 0 0,-1 0 0,0 0 0,0 0 0,0 0 0,1 0 0,-1 0 0,0 0 0,0 0 0,0 0 0,1 0 0,-1 0 0,0 0 0,0-1 0,0 1 0,0 0 0,1 0 0,-1 0 0,0 0 0,0 0 0,0 0 0,0 0 0,1-1 0,-1 1 0,0 0 0,0 0 0,0 0 0,0 0 0,0-1 0,9-6 0,1-4 0,0-1 0,-1 0 0,8-13 0,21-43 0,-20 35 0,-13 23 0,13-21 0,-1-1 0,19-53 0,-35 82 0,0 0 0,0-1 0,0 1 0,-1 0 0,1 0 0,-1-1 0,0 1 0,0 0 0,0-1 0,0 1 0,-1-5 0,-7 20 0,-5 13 0,-12 32 0,1-4 0,-9 25 0,23-50 0,-2-1 0,-17 30 0,26-52 0,-1-1 0,-6 8 0,6-8 0,1 0 0,-6 8 0,8-9-1365</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25.256"/>
    </inkml:context>
    <inkml:brush xml:id="br0">
      <inkml:brushProperty name="width" value="0.035" units="cm"/>
      <inkml:brushProperty name="height" value="0.035" units="cm"/>
      <inkml:brushProperty name="color" value="#FFFFFF"/>
    </inkml:brush>
  </inkml:definitions>
  <inkml:trace contextRef="#ctx0" brushRef="#br0">142 1 24575,'-2'2'0,"1"0"0,-1 0 0,1 0 0,0 0 0,-2 5 0,-2 4 0,-26 48 0,-30 80 0,48-106 0,12-30-124,0 0 0,0 0 0,-1-1 0,1 1 0,-1 0 0,0-1-1,1 1 1,-1-1 0,0 1 0,-4 2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26.044"/>
    </inkml:context>
    <inkml:brush xml:id="br0">
      <inkml:brushProperty name="width" value="0.035" units="cm"/>
      <inkml:brushProperty name="height" value="0.035" units="cm"/>
      <inkml:brushProperty name="color" value="#FFFFFF"/>
    </inkml:brush>
  </inkml:definitions>
  <inkml:trace contextRef="#ctx0" brushRef="#br0">133 1 24575,'-1'7'0,"1"-1"0,-1 1 0,0 0 0,-1 0 0,1-1 0,-6 12 0,-20 37 0,9-21 0,-4 12-42,-30 61-1281</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26.761"/>
    </inkml:context>
    <inkml:brush xml:id="br0">
      <inkml:brushProperty name="width" value="0.035" units="cm"/>
      <inkml:brushProperty name="height" value="0.035" units="cm"/>
      <inkml:brushProperty name="color" value="#FFFFFF"/>
    </inkml:brush>
  </inkml:definitions>
  <inkml:trace contextRef="#ctx0" brushRef="#br0">122 0 24575,'0'13'0,"-1"0"0,0 0 0,-1 0 0,-1 0 0,-6 21 0,-2 0 0,-26 53 0,29-72 0,0 0 0,-1 0 0,-21 27 0,27-39-1365</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27.492"/>
    </inkml:context>
    <inkml:brush xml:id="br0">
      <inkml:brushProperty name="width" value="0.035" units="cm"/>
      <inkml:brushProperty name="height" value="0.035" units="cm"/>
      <inkml:brushProperty name="color" value="#FFFFFF"/>
    </inkml:brush>
  </inkml:definitions>
  <inkml:trace contextRef="#ctx0" brushRef="#br0">125 1 24575,'0'0'0,"-2"12"0,-1 2 0,0 1 0,-1-1 0,-7 16 0,8-23 0,-10 26 0,-32 55 0,37-76-362,-1 0 1,-13 14-1,20-24 82</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28.343"/>
    </inkml:context>
    <inkml:brush xml:id="br0">
      <inkml:brushProperty name="width" value="0.035" units="cm"/>
      <inkml:brushProperty name="height" value="0.035" units="cm"/>
      <inkml:brushProperty name="color" value="#FFFFFF"/>
    </inkml:brush>
  </inkml:definitions>
  <inkml:trace contextRef="#ctx0" brushRef="#br0">1 208 24575,'3'0'0,"0"-1"0,1 0 0,-1 0 0,0-1 0,0 1 0,1 0 0,-1-1 0,0 0 0,3-2 0,-2 1 0,3-2 0,0 0 0,0-1 0,0 0 0,-1 0 0,0-1 0,-1 1 0,1-1 0,-1 0 0,6-13 0,-2 2 0,0 0 0,-2-1 0,6-20 0,-8 18-1365</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31.732"/>
    </inkml:context>
    <inkml:brush xml:id="br0">
      <inkml:brushProperty name="width" value="0.035" units="cm"/>
      <inkml:brushProperty name="height" value="0.035" units="cm"/>
      <inkml:brushProperty name="color" value="#FFFFFF"/>
    </inkml:brush>
  </inkml:definitions>
  <inkml:trace contextRef="#ctx0" brushRef="#br0">0 199 24575,'34'-29'0,"-24"20"0,1 0 0,13-15 0,-13 9 22,-1-1 0,0 0-1,8-20 1,6-9-1474</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32.568"/>
    </inkml:context>
    <inkml:brush xml:id="br0">
      <inkml:brushProperty name="width" value="0.035" units="cm"/>
      <inkml:brushProperty name="height" value="0.035" units="cm"/>
      <inkml:brushProperty name="color" value="#FFFFFF"/>
    </inkml:brush>
  </inkml:definitions>
  <inkml:trace contextRef="#ctx0" brushRef="#br0">8 119 24575,'-8'9'0,"10"-9"0,5-3 0,3-4 0,0 0 0,0-1 0,-1 0 0,0-1 0,15-18 0,-10 9-682,23-22-1</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33.396"/>
    </inkml:context>
    <inkml:brush xml:id="br0">
      <inkml:brushProperty name="width" value="0.035" units="cm"/>
      <inkml:brushProperty name="height" value="0.035" units="cm"/>
      <inkml:brushProperty name="color" value="#FFFFFF"/>
    </inkml:brush>
  </inkml:definitions>
  <inkml:trace contextRef="#ctx0" brushRef="#br0">6 128 24575,'-4'4'0,"3"-2"0,4-4 0,13-10 0,0 0 0,-2-1 0,1 0 0,-2-2 0,0 1 0,20-31 0,-26 38-1365</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34.329"/>
    </inkml:context>
    <inkml:brush xml:id="br0">
      <inkml:brushProperty name="width" value="0.035" units="cm"/>
      <inkml:brushProperty name="height" value="0.035" units="cm"/>
      <inkml:brushProperty name="color" value="#FFFFFF"/>
    </inkml:brush>
  </inkml:definitions>
  <inkml:trace contextRef="#ctx0" brushRef="#br0">1 95 24575,'10'-5'0,"8"-8"0,-1-1 0,-1 0 0,26-30 0,-38 40-1365</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10.866"/>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256 0,'-1'15,"0"-1,-1 0,-3 15,-15 40,13-45,0-1,-6 48,12 63,2-66,-1-7,0 67,1-123,0 1,0 0,3 9,0 2,-2 14,-2-19,0-9,0-5,0-404,-5 314,5 88,0 2,1 0,-2 0,1 0,0 0,0 0,-1-3,0 4,1 0,0 1,-1-1,1 1,-1-1,1 0,-1 1,1-1,-1 1,1-1,-1 1,1-1,-1 1,0-1,1 1,-1 0,0-1,1 1,-1 0,0 0,-1-1,-7-2,0 0,-15-8,18 8,0 0,0 0,0 0,-1 1,1 0,-1 1,-11-2,-14-1,24 2,0 1,0 0,-10 0,18 1,-1 1,0-1,1 0,-1 0,0 0,1 1,-1-1,0 0,1 1,-1-1,1 1,-1-1,0 0,1 1,-1-1,1 1,0 0,-1-1,1 1,-1-1,1 1,0 0,-1-1,1 1,0 0,0-1,0 1,-1 0,1-1,0 1,0 0,0 0,0 5,0 0,0 0,1 7,0-3,-1 41,0-44</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39.124"/>
    </inkml:context>
    <inkml:brush xml:id="br0">
      <inkml:brushProperty name="width" value="0.035" units="cm"/>
      <inkml:brushProperty name="height" value="0.035" units="cm"/>
      <inkml:brushProperty name="color" value="#FFFFFF"/>
    </inkml:brush>
  </inkml:definitions>
  <inkml:trace contextRef="#ctx0" brushRef="#br0">1 95 24575,'10'-4'0,"-3"0"0,16-7 0,-1-2 0,23-16 0,-36 22-455,-1-1 0,9-10 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40.162"/>
    </inkml:context>
    <inkml:brush xml:id="br0">
      <inkml:brushProperty name="width" value="0.035" units="cm"/>
      <inkml:brushProperty name="height" value="0.035" units="cm"/>
      <inkml:brushProperty name="color" value="#FFFFFF"/>
    </inkml:brush>
  </inkml:definitions>
  <inkml:trace contextRef="#ctx0" brushRef="#br0">1 134 24575,'12'-6'0,"1"-2"0,0-1 0,0-1 0,0 0 0,-2 0 0,1-1 0,-1-1 0,12-17 0,-1 1-1365</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41.089"/>
    </inkml:context>
    <inkml:brush xml:id="br0">
      <inkml:brushProperty name="width" value="0.035" units="cm"/>
      <inkml:brushProperty name="height" value="0.035" units="cm"/>
      <inkml:brushProperty name="color" value="#FFFFFF"/>
    </inkml:brush>
  </inkml:definitions>
  <inkml:trace contextRef="#ctx0" brushRef="#br0">5 136 24575,'-1'1'0,"1"0"0,-1-1 0,1 1 0,0-1 0,-1 1 0,1 0 0,-1-1 0,1 1 0,0 0 0,0-1 0,-1 2 0,1 3 0,0-5 0,0 0 0,1 0 0,-1 0 0,0 0 0,0 0 0,0 0 0,1 0 0,-1 0 0,0 0 0,0 0 0,0 0 0,0 0 0,1 0 0,-1 0 0,0 0 0,0 0 0,0 0 0,1 0 0,-1-1 0,0 1 0,0 0 0,0 0 0,0 0 0,0 0 0,1 0 0,-1 0 0,0-1 0,0 1 0,20-15-195,-1-2 0,0 0 0,-1-1 0,-1-1 0,-1-1 0,14-21 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41.948"/>
    </inkml:context>
    <inkml:brush xml:id="br0">
      <inkml:brushProperty name="width" value="0.035" units="cm"/>
      <inkml:brushProperty name="height" value="0.035" units="cm"/>
      <inkml:brushProperty name="color" value="#FFFFFF"/>
    </inkml:brush>
  </inkml:definitions>
  <inkml:trace contextRef="#ctx0" brushRef="#br0">1 112 24575,'0'-1'0,"1"0"0,0 0 0,0 0 0,-1 0 0,1 0 0,0 0 0,0 0 0,0 1 0,1-2 0,1 0 0,27-22 0,-18 14 0,0 0 0,0-1 0,14-16 0,-13 10-1365</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43.691"/>
    </inkml:context>
    <inkml:brush xml:id="br0">
      <inkml:brushProperty name="width" value="0.035" units="cm"/>
      <inkml:brushProperty name="height" value="0.035" units="cm"/>
      <inkml:brushProperty name="color" value="#FFFFFF"/>
    </inkml:brush>
  </inkml:definitions>
  <inkml:trace contextRef="#ctx0" brushRef="#br0">167 49 24575,'0'0'0,"0"0"0,1 1 0,-3 0 0,1-1 0,-1 1 0,0-1 0,1 1 0,-1-1 0,0 1 0,1-1 0,-1 0 0,0 0 0,1 0 0,-3 0 0,-19-2 0,7-2 0,0 0 0,-1-2 0,2 0 0,-1 0 0,-18-11 0,33 16 0,1 1-15,-1 0-47,1 0 1,-1 0 0,1-1-1,-1 1 1,1 0 0,0 0-1,-1-1 1,1 1 0,-1 0-1,1-1 1,0 1-1,-1 0 1,1-1 0,0 1-1,0 0 1,-1-1 0,1 1-1,0-1 1,0 1 0,-1 0-1,1-1 1</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16:45.384"/>
    </inkml:context>
    <inkml:brush xml:id="br0">
      <inkml:brushProperty name="width" value="0.035" units="cm"/>
      <inkml:brushProperty name="height" value="0.035" units="cm"/>
      <inkml:brushProperty name="color" value="#FFFFFF"/>
    </inkml:brush>
  </inkml:definitions>
  <inkml:trace contextRef="#ctx0" brushRef="#br0">157 101 24575,'0'0'0,"0"0"0,0 0 0,-15-3 0,7 0 0,-1-1 0,1 0 0,0 0 0,-8-6 0,-28-23 0,24 18 0,-8-9-1365</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0T19:41:08.556"/>
    </inkml:context>
    <inkml:brush xml:id="br0">
      <inkml:brushProperty name="width" value="0.14111" units="cm"/>
      <inkml:brushProperty name="height" value="0.14111" units="cm"/>
    </inkml:brush>
  </inkml:definitions>
  <inkml:trace contextRef="#ctx0" brushRef="#br0">0 61 8027,'0'8'0,"0"0"0,0 0 0,0 0 0,0 0 0,0 0 0,0 0 0,0 0 0,0 0 0,0 0 0,0 0 0,0 0 0,0 0 0,0 0 0,4-3 0,0-2 0,4-3 0,-3-3 0,-2-2 0,1 1 0,4-10 0,-3 7 0,1-6 0,-4 3 0,1 2 0,0 3 0,3-1 0,1 1 0,-3 1 0,4 0 0,0 0 0,-3 0 0,6-8 0,-10 3 0,10 2 0,-6 3 0,-1 0 0,7 3 0,-9-6 0,6 2 0,-1-1 0,1 0 0,-3 0 0,0 3 0,-2-2 0,2 2 0,1 1 0,2 2 0,0 0 0,-1 3 0,-2 3 0,2 0 0,-1-1 0,1 1 0,1-3 0,-3 3 0,1-4 0,-1 4 0,3-4 0,0 1 0,0-3 0,0 0 0,0 0 0,0 4 0,-3 0 0,-3 4 0,3-4 0,-1 0 0,4-4 0,0 0 0,0 0 0,0 0 0,0 0 0,0 3 0,-3 3 0,2 1 0,-3-3 0,5-1 0,-1-2 0,0-1 0,0 0 0,0-4 0,0-1 0,-3-1 0,0 0 0,-3-1 0,5 7 0,-2-4 0,3 4 0,-3 3 0,1-1 0,-1 1 0,3-3 0,0 0 0,0 0 0,0 0 0,0 0 0,0 0 0,0-4 0,0-1 0,0-2 0,0-1 0,0 1 0,0 1 0,0 3 0,0 3 0,0 3 0,-2 1 0,-1 1 0,-3 3 0,5-8 0,-1 3 0,1-2 0,1-1 0,0 0 0,0 0 0,0 0 0,0 0 0,0 0 0,0 0 0,0 0 0,0 0 0,-3 3 0,1-1 0,-1 5 0,3-7 0,0 4 0,0-4 0,0 0 0,0 0 0,0-3 0,0 1 0,-1-5 0,-1 2 0,1-2 0,-3 2 0,4 2 0,0 3 0,0 0 0,0 0 0,0 0 0,0 0 0,0 0 0,0 0 0,0 0 0,1 0 0,-1 0 0,-1-1 0,-2-2 0,1 2 0,-3-5 0,3 4 0,-1-1 0,3 3 0,0 0 0,0 0 0,0 0 0,0 0 0,0 0 0,0 0 0,0 0 0,0 0 0,0 0 0,0 0 0,0 0 0,0 0 0,0 0 0,0-1 0,0-2 0,0-1 0,0-4 0,0 3 0,0 2 0,0 3 0,0 0 0,-2 3 0,-1 3 0,0 4 0,3 0 0,0 3 0,1-2 0,-4 1 0,0-1 0,1-3 0,2 3 0,-3-2 0,0-1 0,-3 0 0,5-3 0,-6-5 0,3-4 0,-1-1 0,2 1 0,2 5 0,-2 2 0,2 5 0,-1 5 0,-2-1 0,2-2 0,-2-1 0,1-1 0,3-3 0,-4-2 0,4-10 0,0-3 0,-3-4 0,1 1 0,-4-1 0,4 3 0,-3 1 0,2 5 0,-3-3 0,5 8 0,-3-4 0,4 4 0,0 0 0,0 0 0,4 0 0,1 0 0,0 3 0,0-1 0,1 1 0,2-3 0,-3 0 0,0 0 0,0 0 0,0 0 0,0-2 0,-3-3 0,-1-1 0,2-8 0,-2 7 0,-1-1 0,0 6 0,0-2 0,0 4 0,0 0 0,0 0 0,0 1 0,0 2 0,3 1 0,0 4 0,3-1 0,-1-2 0,0 2 0,0-5 0,-2 1 0,1-3 0,0 0 0,-1 0 0,-3 0 0,0-4 0,0-4 0,-1 0 0,-2-3 0,2 2 0,-2 4 0,3 2 0,-1 6 0,-2 3 0,2 1 0,-5 1 0,1 0 0,-3 0 0,1-1 0,2-2 0,1-1 0,1-8 0,-3-4 0,2 0 0,-2-3 0,5 2 0,-3 5 0,4 0 0,0 8 0,0 1 0,-2 2 0,-1 1 0,0 0 0,3-1 0,0-2 0,1-1 0,-1-5 0,0-2 0,0-4 0,0-3 0,0-4 0,0 4 0,-1-1 0,-2 3 0,2 3 0,-1 3 0,1 1 0,1 1 0,0 0 0,3 1 0,-1 1 0,5 3 0,-2 3 0,-1 0 0,2 0 0,-4 0 0,0 0 0,0-4 0,1-1 0,-2-2 0,1-1 0,-1-2 0,-1-3 0,-3 0 0,-2-6 0,0 5 0,0 0 0,3 4 0,-1-1 0,3 3 0,0 0 0,0 0 0,-3 3 0,0 3 0,1 2 0,2 3 0,0 1 0,0 4 0,2-3 0,1-3 0,1-1 0,-1-1 0,-3-3 0,3-3 0,1-1 0,-2-2 0,0-1 0,3-6 0,-4-5 0,1-3 0,-1 0 0,-1 4 0,0 1 0,0 3 0,0 3 0,0-2 0,0 5 0,1-1 0,-1 4 0,0 1 0,0 3 0,0 3 0,0 3 0,0-1 0,-3 1 0,1-3 0,-4-1 0,4-1 0,-1-3 0,3-3 0,0 0 0,0-4 0,0-4 0,0-4 0,0-4 0,-1 0 0,-1 0 0,0 1 0,-3 1 0,2 5 0,-2 4 0,3 3 0,-2 2 0,1 8 0,-3 6 0,3 3 0,0 2 0,0 0 0,0-3 0,-3-3 0,1-3 0,1-1 0,0-4 0,4-2 0,1-6 0,-2 2 0,2-3 0,-1 4 0,0 0 0,0 0 0,0 0 0,0 0 0,0 0 0,2 0 0,1 0 0,0 0 0,-3 0 0,0-1 0,0-1 0,0 0 0,0-4 0,0 5 0,0-3 0,0 4 0,-3 3 0,1-1 0,3 8 0,3 3 0,1 0 0,-2-1 0,-6-5 0,-1-4 0,-1 3 0,1-3 0,4-3 0,0 0 0,0 0 0,0-1 0,1-5 0,-4 1 0,0-6 0,1 2 0,2 1 0,0 0 0,0 4 0,0 0 0,1 4 0,1 0 0,-1 0 0,6 1 0,-1 3 0,1 4 0,1 2 0,0 4 0,-2-3 0,-1-3 0,0 0 0,3-3 0,-2-2 0,-1-3 0,0-8 0,4-5 0,-2-2 0,-2-4 0,-1 6 0,-4 2 0,0 6 0,0 2 0,0 2 0,0 1 0,0 0 0,0 0 0,0 0 0,0 0 0,-3 4 0,2-3 0,-1 6 0,2-2 0,-2 2 0,-9 8 0,2-5 0,-3 5 0,4-7 0,0 0 0,0 0 0,4-3 0,-3 1 0,5-3 0,-4 3 0,5-1 0,-6 3 0,6-4 0,-6 3 0,2-2 0,1-1 0,-3 3 0,1-1 0,-1 1 0,2-2 0,0 0 0,-1 1 0,2-2 0,-3 3 0,6-6 0,-6 7 0,6-4 0,-6 4 0,1 0 0,2-3 0,-1 1 0,3 3 0,-1 4 0,2 6 0,2 2 0,-1 8 0,0 0 0,6 13 0,2-2 0,2 8 0,-2 1 0,3 2 0,4 7 0,3 4 0,-1 4 0,5 9 0,-1 5 0,4 5 0,-1 3 0,1 4 0,1 1 0,1 0 0,-18-46 0,1 1 0,17 43 0,-2 0 0,5-3 0,-3 0 0,3-2 0,-4 0 0,2-1 0,-2 1 0,1 0 0,0-4 0,-3 1 0,-3 2 0,1 0 0,-3 3 0,2 0 0,-3-1 0,1-1 0,-2-2 0,-1-4 0,-3-2 0,1 0 0,-4-7 0,4 1 0,-4-1 0,4 1 0,-3 1 0,2 2 0,0 2 0,3 3 0,1 1 0,-1-1 0,-4-7 0,-1-9 0,-1 2 0,0-13 0,-3 3 0,1-2 0,-1-3 0,4 0 0,-2 0 0,1 7 0,-1 0 0,-1 1 0,3-1 0,0 4 0,3-1 0,0 4 0,-4-4 0,-1-4 0,0 9 0,-2-8 0,-1 2 0,-3-8 0,3 9 0,-2-3 0,0 2 0,-2 5 0,5-5 0,-2 5 0,2 0 0,-2 2 0,5-1 0,-2 3 0,2-3 0,-2 1 0,0-2 0,4 0 0,-3 2 0,5 0 0,0-1 0,2-1 0,3-1 0,1 0 0,1 1 0,2-4 0,-1 1 0,-1-6 0,-2-3 0,3 8 0,-6-5 0,2 4 0,-2-4 0,-3 3 0,0 0 0,-3-8 0,1-3 0,-1 0 0,1 9 0,-2-5 0,1-1 0,-1-4 0,-1-2 0,-2-6 0,-1 2 0,0-4 0,0 1 0,2-3 0,-2-3 0,0 3 0,0 0 0,1 0 0,2-3 0,0 0 0,0 1 0,0 2 0,0-2 0,0 5 0,0-3 0,0 0 0,-1-3 0,-1 0 0,0 0 0,-3 0 0,2 0 0,-2 1 0,2-1 0,-2 0 0,3 0 0,-1 0 0,2 0 0,-2 0 0,3-2 0,-3-1 0,1-3 0,0 1 0,-3-2 0,0 2 0,0-1 0,-1 5 0,-2-3 0,0 1 0,1 3 0,2 0 0,-2-2 0,2 2 0,-2-3 0,-1 1 0,0-4 0,0-4 0,-1 0 0,-2-3 0,2 0 0,-1-3 0,-2 1 0,1 1 0,-2-2 0,2 2 0,0-3 0,0 4 0,2 2 0,-1 0 0,1 2 0,1 1 0,-1-2 0,-2-1 0,2-4 0,-5-1 0,4 0 0,-4-6 0,1 1 0,-3-3 0,4-4 0,-3-25 0,2 11 0,-3-23 0,0 22 0,0-3 0,0 2 0,0 1 0,0 2 0,0-9 0,0 2 0,0-2 0,0 2 0,0 0 0,0 0 0,0 1 0,0 1 0,0-3 0,0 1 0,0-2 0,0 2 0,1 2 0,2 1 0,0 3 0,3-1 0,-3 2 0,1 5 0,-3 4 0,5 5 0,-1 3 0,3 3 0,-2 1 0,-1 1 0,0-1 0,3-4 0,0 0 0,0 0 0,-2-1 0,-1-2 0,0-1 0,3-4 0,1 0 0,2 0 0,-1-7 0,3-4 0,0-3 0,0-2 0,2 0 0,-5 3 0,1 2 0,-3 6 0,0-2 0,0 7 0,0 0 0,-1 4 0,-1 7 0,1 1 0,-2 1 0,2-1 0,1-4 0,0-1 0,0-2 0,4-1 0,1-4 0,3-1 0,0-2 0,-1-1 0,-2-4 0,1-2 0,-3 2 0,2-1 0,-2 6 0,0 1 0,-3 2 0,0 1 0,0 1 0,0 3 0,0 3 0,-3 0 0,1 0 0,-4 0 0,5-4 0,-2-1 0,2-2 0,1-1 0,0-4 0,0 3 0,-1 1 0,-1 6 0,-3 1 0,1-3 0,1-1 0,2-2 0,1-1 0,0 0 0,0 0 0,1 0 0,-2 0 0,2 0 0,-1 0 0,0 0 0,0 0 0,-1 4 0,-2 4 0,1 4 0,-3 4 0,3 0 0,0 0 0,-2-1 0,1-1 0,1-3 0,2-3 0,3-3 0,3-3 0,-2-1 0,2-1 0,-2-1 0,2-1 0,-3-2 0,-3-1 0,0 1 0,0 4 0,0 1 0,-3 2 0,2 1 0,-2 4 0,-1 0 0,-1 0 0,1 0 0,1-3 0,3-2 0,0-3 0,0 0 0,0 0 0,0-3 0,0 1 0,0-3 0,-3-1 0,0-2 0,1 4 0,2 0 0,0 4 0,0 0 0,0 0 0,0 4 0,0 1 0,0-1 0,0-2 0,3-1 0,-1-1 0,4-1 0,-3-1 0,2-6 0,-2-6 0,-1 0 0,-2 1 0,0-1 0,0 6 0,0-2 0,0 10 0,-3 0 0,-1 4 0,-4 4 0,0 0 0,0 0 0,2 0 0,1 0 0,0-1 0,0-1 0,2-3 0,3-3 0,0-1 0,0-1 0,2-10 0,1-7 0,3-2 0,0 0 0,-3 1 0,0 4 0,-2 2 0,-1 3 0,0 1 0,0 7 0,-1 2 0,-1 3 0,-2 5 0,-1 4 0,0 3 0,3-4 0,1 1 0,-2-3 0,0-1 0,0-2 0,1-2 0,1-2 0,1-1 0,1-4 0,-1-5 0,2-9 0,1-9 0,2 0 0,-2 0 0,2 3 0,-2 3 0,0 5 0,-3 5 0,0 6 0,0 5 0,-3 8 0,1 5 0,-4 6 0,4 2 0,-4 3 0,4 0 0,-2-4 0,2-1 0,0-6 0,-4-2 0,4-2 0,-3-1 0,3-4 0,-2 0 0,4-4 0,1-11 0,2-5 0,1-6 0,4-5 0,1 2 0,-1-2 0,-4 6 0,-1 2 0,-2 6 0,-1 2 0,0 6 0,0 2 0,-1 3 0,-2 3 0,0 5 0,-3 5 0,2 5 0,2 1 0,0-1 0,-1-5 0,3-2 0,0-3 0,0-3 0,4-1 0,1-4 0,2-5 0,1-3 0,1-3 0,2-5 0,-2 0 0,1 3 0,-3 2 0,-2 6 0,-3 1 0,1 4 0,-2 8 0,-1 6 0,-3 2 0,0 5 0,-3-3 0,1 1 0,-1-3 0,0-3 0,-1-1 0,6-8 0,-2 0 0,3-4 0,0-4 0,0-1 0,3-2 0,-1-1 0,1 3 0,-3 3 0,0 1 0,0 1 0,0 1 0,0 1 0,-2 4 0,-1 4 0,-2 3 0,2 3 0,0 0 0,0 0 0,2-2 0,-2-1 0,2-3 0,2 0 0,2-2 0,3-2 0,1-3 0,2-4 0,1-1 0,3-10 0,2-4 0,-1-6 0,0 0 0,-7 5 0,1 1 0,-5 7 0,-1 7 0,-1 1 0,-1 1 0,-2 4 0,-1 4 0,-3 8 0,1 5 0,0 1 0,0 0 0,0-3 0,0-3 0,-1-3 0,3-2 0,-2-3 0,2-3 0,1-1 0,2-4 0,4 0 0,4 0 0,6-10 0,2-4 0,1-3 0,-3-2 0,-2 4 0,-2-1 0,-4 7 0,-3 1 0,-3 3 0,1 5 0,-5 7 0,0 8 0,-4 10 0,0 0 0,0 0 0,0-5 0,3-1 0,-2-6 0,2-2 0,1-3 0,1-3 0,3-2 0,0-6 0,3-9 0,3-10 0,1 2 0,1-4 0,0 6 0,0 2 0,-4 3 0,-1 6 0,-2 2 0,-1 1 0,0 3 0,0-1 0,1-7 0,2-7 0,6-7 0,7-7 0,-2 1 0,5 0 0,-1 0 0,3 0 0,-2 6 0,-6 7 0,1 7 0,-6 6 0,1 2 0,-6 1 0,-1 6 0,-2 4 0,-1 3 0,-1 6 0,0-3 0,-3-3 0,2-1 0,-2-4 0,-1 0 0,-2 0 0,4-4 0,0 0 0,5-4 0,-2 0 0,2 0 0,-1-1 0,0-2 0,0-5 0,0-5 0,3-2 0,-1 2 0,1 2 0,-3 2 0,0 5 0,-4 4 0,0 4 0,-4 5 0,0-1 0,0 0 0,0 0 0,0 0 0,1-1 0,2-2 0,1-1 0,0-1 0,0 2 0,-4 3 0,11 13 0,-1 1 0,5-5 0,-14-9 0,2-4 0,-3-3 0,0 5 0,4-9 0,-7 7 0,9-4 0,-12 0 0,12 0 0,-8-21 0,5 12 0,-3-17 0,0 18 0,0 0 0,0-1 0,0-2 0,1-6 0,2-7 0,5-7 0,5-7 0,2-5 0,2-6 0,2-6 0,3-6 0,2-7 0,2-4 0,0-7 0,4-4 0,0 1 0,1 2 0,1 5 0,1 1 0,-1 7 0,2 4 0,1 4 0,-1-1 0,-4 1 0,-2 4 0,-1-1 0,-5 11 0,2-8 0,-2 6 0,-1-4 0,2 6 0,-5 2 0,5-2 0,-2-4 0,0 7 0,3-6 0,-4 10 0,4-8 0,-4 2 0,1 4 0,1-2 0,2 2 0,0-1 0,0 1 0,0 3 0,0-1 0,0 1 0,0-3 0,6-6 0,-1 1 0,3-5 0,-5 5 0,3-3 0,-4-3 0,0 4 0,1-6 0,-9 12 0,6-10 0,-4 6 0,1 0 0,-1 1 0,-4 4 0,1 1 0,1 1 0,0-1 0,4 1 0,-4 2 0,3-1 0,-1 2 0,-2 0 0,-2 3 0,0 0 0,0-1 0,-2 4 0,-1 0 0,-2 2 0,2-3 0,-2 1 0,2-3 0,0 0 0,0-1 0,2 1 0,-5 0 0,4 1 0,-3 1 0,0 0 0,0 3 0,-2-3 0,1 1 0,-1 0 0,-1 0 0,3-1 0,0-2 0,0 3 0,0-1 0,-2 2 0,2-2 0,0 2 0,0 1 0,0 2 0,-3-2 0,0 2 0,0 1 0,1 0 0,1 0 0,-1-3 0,2 0 0,-2-2 0,-1 2 0,3-2 0,-1 2 0,1-3 0,-3 4 0,0-2 0,0 1 0,0 5 0,0-2 0,0 2 0,0 1 0,-1-1 0,-1 3 0,1 0 0,-2 3 0,2 0 0,-2 0 0,1 3 0,-3-1 0,3 2 0,-1-2 0,2 0 0,-2 3 0,1 0 0,-2 1 0,0-1 0,1 0 0,0 3 0,1 0 0,-3 0 0,3 0 0,-5 0 0,3 0 0,-1 4 0,-2 4 0,3 4 0,-4 4 0,0 0 0,0 0 0,0 0 0,0 0 0,0 0 0,0 0 0,0 0 0,0 4 0,0 1 0,1 3 0,1 0 0,0 0 0,4 0 0,-1-1 0,3-2 0,-3-1 0,0-4 0,-2 0 0,4 0 0,-3-3 0,4-2 0,-1-6 0,-2-3 0,2-1 0,-5-1 0,4 3 0,-4-1 0,5 4 0,-6 2 0,1 6 0,0 1 0,1 1 0,1 0 0,4 0 0,0-1 0,0-1 0,5-3 0,3-3 0,1 0 0,4 0 0,1-2 0,2-3 0,-4-3 0,-1-5 0,-3-2 0,-2 5 0,-3 2 0,-3 6 0,0 1 0,-3 4 0,-2 2 0,1-1 0,0 0 0,4-4 0,3 0 0,0 0 0,2 0 0,-2 0 0,2-3 0,-2 1 0,0-1 0,-3 3 0,0 0 0,0 0 0,0 0 0,0 0 0,0 0 0,1-7 0,1-4 0,3-2 0,3-1 0,-3 0 0,-3 3 0,-1 1 0,-1 5 0,0 2 0,0 5 0,0 1 0,0 0 0,0-3 0,0 0 0,0-1 0,0-2 0,0-2 0,0-6 0,1-2 0,2-6 0,2 1 0,3-3 0,0-1 0,0-2 0,0 1 0,0 1 0,-3 4 0,-3 4 0,-1 5 0,-1 4 0,0 3 0,-1 3 0,-1 7 0,-2 4 0,-1 4 0,-2-1 0,1-2 0,0 2 0,1-5 0,-2 1 0,1-3 0,3 0 0,-1-3 0,3 4 0,-1-1 0,-3 3 0,-3 0 0,0-1 0,0 3 0,0 3 0,0 3 0,1 2 0,2-2 0,-1 0 0,3-3 0,-3-1 0,1-2 0,-3-1 0,0-4 0,4 0 0,0-3 0,5-2 0,-1-3 0,1-7 0,5-4 0,-1-6 0,6-1 0,-5-1 0,0 3 0,-5 3 0,2 3 0,-2 1 0,-1 4 0,-4 5 0,-1 5 0,-2 3 0,-1 0 0,0 0 0,0 0 0,4-4 0,0 0 0,4-4 0,0 0 0,0 0 0,0 0 0,-3 3 0,-3 3 0,-1 1 0,-1 1 0,3-3 0,0 1 0,-1-1 0,-2-11 0,0-7 0,0-14 0,4-5 0,1-2 0,13-22 0,6-16 0,11-14 0,-14 39 0,1-2 0,2-5 0,1-2 0,4-3 0,1 0 0,-5 7 0,0 3 0,-1 4 0,0 1 0,21-40 0,-2 12 0,-4 6 0,-7 15 0,-7 13 0,-7 16 0,-4 12 0,-3 12 0,-2 21 0,-1 18 0,0 12 0,0 11 0,0 5 0,-4 11 0,-1 5 0,-2 6 0,-1-39 0,0 0 0,0 0 0,0 1 0,0-2 0,0 2 0,1 11 0,1 1 0,1-7 0,0-1 0,0-1 0,1-1 0,0-4 0,0 0 0,0-2 0,0 2 0,0 1 0,0 0 0,4 32 0,0-12 0,0-14 0,0-2 0,-1-11 0,-2-13 0,2-8 0,-5-8 0,5-7 0,-3-20 0,4-14 0,1-12 0,2-11 0,5-25 0,5-12 0,-9 35 0,-1-2 0,2-2 0,-2 1 0,-1 3 0,-1 0 0,1-1 0,-1 0 0,3-41 0,1 1 0,0 3 0,-3 21 0,1 6 0,-3 10 0,-4 14 0,-1 10 0,2 13 0,-5 11 0,3 11 0,-2 12 0,-1 9 0,1 13 0,2 9 0,-2 8 0,5 5 0,-1 1 0,3-4 0,-1 3 0,-1-14 0,1 0 0,-2-8 0,1-9 0,0-6 0,0-9 0,-3-7 0,-2-2 0,4-5 0,-1 0 0,1-8 0,-2 0 0,-3-4 0,0-1 0,0-2 0,3 1 0,0-3 0,3-1 0,-1-5 0,3 1 0,3-3 0,0-1 0,5-2 0,-2 0 0,5 0 0,-2 3 0,-1 3 0,-4 4 0,-1 3 0,-2 3 0,-1 3 0,-4 5 0,0 5 0,0-1 0,0 0 0,3-5 0,-1-2 0,-3-1 0,-3-4 0,0-1 0,0 1 0,1 0 0,2 0 0,-2 0 0,3 1 0,-1 2 0,-1 6 0,3 7 0,-1 7 0,2 6 0,1 2 0,-2-2 0,0-2 0,0-6 0,-1-1 0,2-4 0,1 0 0,-3-4 0,4-1 0,0-6 0,1-5 0,-1-5 0,0-6 0,0-2 0,0-2 0,0 2 0,0 2 0,0 6 0,-1 1 0,-2 4 0,-1 7 0,-4 4 0,0 3 0,1 1 0,1-1 0,-1 1 0,6-6 0,-2 2 0,3-3 0,1-7 0,2-3 0,-2-5 0,5-1 0,-4 1 0,0 2 0,-1 2 0,-1 6 0,0 1 0,-3 8 0,-2 6 0,-3 6 0,0 5 0,0-2 0,0-3 0,0-3 0,3-3 0,0 1 0,3-2 0,-1-1 0,2-4 0,1-1 0,4-2 0,1-1 0,3-7 0,0-4 0,0-3 0,0 1 0,-4 1 0,-1 4 0,-2 1 0,-1 2 0,0 1 0,-4 8 0,0 0 0,-4 4 0,0 0 0,0 0 0,1 0 0,2 0 0,1-3 0,4-2 0,0-2 0,0-1 0,0 0 0,0 0 0,0-1 0,0-2 0,0-2 0,0-3 0,0 0 0,0 4 0,-3 5 0,-3 7 0,-1 7 0,-1 6 0,1-1 0,2-1 0,-1-3 0,3-3 0,-2-1 0,2-4 0,0-4 0,4-1 0,-1-2 0,0-1 0,0-5 0,3-3 0,3-3 0,3-5 0,0 1 0,-7 1 0,1 6 0,-3 5 0,0 3 0,-4 3 0,-1 2 0,-2 3 0,-1 0 0,4-4 0,0 0 0,4-4 0,0-4 0,1-4 0,2-5 0,2-2 0,-1-1 0,-2 3 0,-1 1 0,-1 4 0,1 4 0,-5 4 0,0 7 0,-4 4 0,0 2 0,0-2 0,0 0 0,0-3 0,0 0 0,3-4 0,3-1 0,1-2 0,1-1 0,3-8 0,3-2 0,0-4 0,-1 1 0,-1 2 0,-4 6 0,0-1 0,0 3 0,-4 4 0,0 3 0,-4 4 0,0 1 0,0-1 0,1-1 0,2-2 0,1-1 0,4-4 0,0 0 0,1 0 0,2 0 0,-1-4 0,2 0 0,0-1 0,-2-2 0,-5 11 0,-3 1 0,-1 5 0,-1 3 0,0 2 0,0-6 0,0 2 0,0-2 0,4-5 0,0 0 0,12-9 0,1-3 0,3-4 0,5-3 0,-4-1 0,1 0 0,-6 3 0,-1 1 0,-2 4 0,-1 4 0,-4 1 0,-3 6 0,-2 1 0,-3 4 0,0 1 0,0-1 0,4-4 0,1-1 0,2-2 0,1-1 0,1 0 0,2 0 0,1-1 0,4-2 0,0-1 0,0-4 0,0 2 0,-3 1 0,-1 3 0,-4-1 0,-1 3 0,-2 3 0,2-2 0,-2 2 0,3-3 0,1 0 0,2 0 0,-2 0 0,5-3 0,-4 1 0,0-3 0,-1 3 0,-1-1 0,0 2 0,-3 5 0,-2 0 0,-3 4 0,1 0 0,2-3 0,1-1 0,4-4 0,0 0 0,1 0 0,2 0 0,1-1 0,5-2 0,-4-1 0,0-5 0,-3 2 0,1 2 0,-2-1 0,-1 3 0,0 0 0,-4 10 0,-1 4 0,-2 7 0,-1 3 0,0 2 0,0-2 0,0-2 0,0-6 0,0-1 0,0-4 0,3-4 0,3-1 0,5-12 0,5-4 0,5-3 0,1-4 0,0 1 0,-3 4 0,-6 4 0,-2 5 0,-3 1 0,1 3 0,-5 2 0,0 5 0,-1-1 0,2-1 0,6-3 0,3-3 0,0-4 0,-1-4 0,1 4 0,-3 4 0,0 2 0,-7 5 0,3-3 0,-1 3 0,5-4 0,1-1 0,4-2 0,1-2 0,2-3 0,-5 1 0,2 2 0,-5 1 0,0 4 0,-6 4 0,-1 1 0,-4 6 0,0 1 0,0 2 0,0-1 0,0-3 0,0 2 0,0-4 0,3-4 0,2 0 0,3-4 0,0-1 0,0-2 0,2-1 0,1-4 0,0 0 0,-3 0 0,0 0 0,0 3 0,0 2 0,-4 7 0,-1 4 0,-2 4 0,-1 4 0,0-1 0,0-2 0,0-1 0,0-4 0,0 0 0,4-7 0,1-4 0,2-1 0,1-4 0,0 1 0,0-4 0,0 3 0,-3 7 0,-2 3 0,-3 8 0,0 2 0,0 1 0,3 2 0,0-5 0,3 0 0,-1-4 0,3-3 0,3-3 0,2 0 0,6 0 0,-2-6 0,2-2 0,-2-5 0,-1 3 0,-4 2 0,-1 2 0,-2 5 0,-1-3 0,-4 8 0,3-4 0,1 3 0,4-2 0,1-1 0,13-4 0,-2-4 0,1-1 0,-1-5 0,-2 3 0,-2 3 0,-4 3 0,-4 3 0,-1-1 0,-2 3 0,-5 4 0,-1 4 0,-1 3 0,0 2 0,0-1 0,4-4 0,-1-1 0,3-2 0,4-1 0,1-4 0,3 0 0,3 0 0,-3-1 0,0-2 0,-4 0 0,-4-3 0,0 3 0,0 3 0,1 0 0,-2 0 0,2 0 0,-2 1 0,-2 2 0,-1 2 0,-4 5 0,3 0 0,-1 1 0,3-3 0,-2 0 0,2 0 0,-1-5 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0T19:41:46.784"/>
    </inkml:context>
    <inkml:brush xml:id="br0">
      <inkml:brushProperty name="width" value="0.5" units="cm"/>
      <inkml:brushProperty name="height" value="1" units="cm"/>
      <inkml:brushProperty name="color" value="#FFFC00"/>
      <inkml:brushProperty name="tip" value="rectangle"/>
      <inkml:brushProperty name="rasterOp" value="maskPen"/>
    </inkml:brush>
  </inkml:definitions>
  <inkml:trace contextRef="#ctx0" brushRef="#br0">0 0,'76'0,"-9"0,-37 0,-7 0,6 0,-3 0,-1 0,12 0,-17 0,8 0,0 0,-5 0,11 0,-7 0,-1 0,2 0,-3 4,4-3,-3 3,-2-2,3 2,-1 1,3-2,-2-1,0-2,-3 0,8 0,-9 0,6 0,-15 30,-4-14,-8 25,-2-20,0 3,0 4,0-1,-4-2,3 10,-3-9,4 12,0-12,0-3,0 4,0 0,0 0,0 6,0-6,0 3,0-4,7 4,-4-9,5 11,-2-8,-4-2,5 9,-1-10,-1 9,0-7,-38-9,12-9,-23-8,22-5,3 0,-7-4,3 0,-5-1,8 4,-9 4,6 1,-8 4,7 0,-2 0,-1 0,2 0,-2 0,-2 0,-1 0,-2 0,3 0,7 0,-10 0,6 0,-16 0,14 0,-1 0,4 0,3 0,-9 0,10 1,3 30,9-10,9 16,8-10,-6-13,6 19,-8-6,0 1,4 1,1-4,1-2,-2 17,-4-17,0 10,0-7,0-7,0 12,0-9,0 11,0-4,0 0,-2-5,31-5,-11-14,20-1,-12-7,-9-2,14 2,-6-5,2 1,-3 0,1 3,7 2,-4 2,-3 0,4 0,-6 0,10 0,-6 0,-4 0,8 0,-9 0,9 3,-6 3,-4-2,18 7,-19-7,15 5,-13-4,-2-2,12 0,-4-3,-1 0,0 1,-9 1</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03:12.226"/>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0 1 0,'0'668'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3:03:17.068"/>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19 0,'-4'8,"1"0,1 0,-1 0,1 1,1-1,-1 12,1 52,1-47,5 213,-5-49,0-184,1 1,0-1,2 7,1 10,2 13,-4-26,0 1,1 18,-4 7,0-16,3 26,2-19,-2-16,0 20,-2-8,0-16</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1T13:03:21.679"/>
    </inkml:context>
    <inkml:brush xml:id="br0">
      <inkml:brushProperty name="width" value="0.1" units="cm"/>
      <inkml:brushProperty name="height" value="0.2" units="cm"/>
      <inkml:brushProperty name="color" value="#FBB3C8"/>
      <inkml:brushProperty name="tip" value="rectangle"/>
      <inkml:brushProperty name="rasterOp" value="maskPen"/>
      <inkml:brushProperty name="ignorePressure" value="1"/>
    </inkml:brush>
  </inkml:definitions>
  <inkml:trace contextRef="#ctx0" brushRef="#br0">0 1 0,'82'1452'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a:latin typeface="Source Sans Pro" panose="020B0503030403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a:latin typeface="Source Sans Pro" panose="020B0503030403020204" pitchFamily="34" charset="0"/>
              </a:defRPr>
            </a:lvl1pPr>
          </a:lstStyle>
          <a:p>
            <a:fld id="{92DA5471-CC57-402A-9527-36A1D012F698}" type="slidenum">
              <a:rPr lang="de-DE" smtClean="0"/>
              <a:pPr/>
              <a:t>‹#›</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Source Sans Pro" panose="020B0503030403020204" pitchFamily="34" charset="0"/>
        <a:ea typeface="+mn-ea"/>
        <a:cs typeface="+mn-cs"/>
      </a:defRPr>
    </a:lvl1pPr>
    <a:lvl2pPr marL="457200" algn="l" defTabSz="914400" rtl="0" eaLnBrk="1" latinLnBrk="0" hangingPunct="1">
      <a:defRPr sz="1200" kern="1200">
        <a:solidFill>
          <a:schemeClr val="tx1"/>
        </a:solidFill>
        <a:latin typeface="Source Sans Pro" panose="020B0503030403020204" pitchFamily="34" charset="0"/>
        <a:ea typeface="+mn-ea"/>
        <a:cs typeface="+mn-cs"/>
      </a:defRPr>
    </a:lvl2pPr>
    <a:lvl3pPr marL="914400" algn="l" defTabSz="914400" rtl="0" eaLnBrk="1" latinLnBrk="0" hangingPunct="1">
      <a:defRPr sz="1200" kern="1200">
        <a:solidFill>
          <a:schemeClr val="tx1"/>
        </a:solidFill>
        <a:latin typeface="Source Sans Pro" panose="020B0503030403020204" pitchFamily="34" charset="0"/>
        <a:ea typeface="+mn-ea"/>
        <a:cs typeface="+mn-cs"/>
      </a:defRPr>
    </a:lvl3pPr>
    <a:lvl4pPr marL="1371600" algn="l" defTabSz="914400" rtl="0" eaLnBrk="1" latinLnBrk="0" hangingPunct="1">
      <a:defRPr sz="1200" kern="1200">
        <a:solidFill>
          <a:schemeClr val="tx1"/>
        </a:solidFill>
        <a:latin typeface="Source Sans Pro" panose="020B0503030403020204" pitchFamily="34" charset="0"/>
        <a:ea typeface="+mn-ea"/>
        <a:cs typeface="+mn-cs"/>
      </a:defRPr>
    </a:lvl4pPr>
    <a:lvl5pPr marL="1828800" algn="l" defTabSz="914400" rtl="0" eaLnBrk="1" latinLnBrk="0" hangingPunct="1">
      <a:defRPr sz="1200" kern="1200">
        <a:solidFill>
          <a:schemeClr val="tx1"/>
        </a:solidFill>
        <a:latin typeface="Source Sans Pro" panose="020B0503030403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2DA5471-CC57-402A-9527-36A1D012F698}" type="slidenum">
              <a:rPr lang="de-DE" smtClean="0"/>
              <a:pPr/>
              <a:t>3</a:t>
            </a:fld>
            <a:endParaRPr lang="de-DE"/>
          </a:p>
        </p:txBody>
      </p:sp>
    </p:spTree>
    <p:extLst>
      <p:ext uri="{BB962C8B-B14F-4D97-AF65-F5344CB8AC3E}">
        <p14:creationId xmlns:p14="http://schemas.microsoft.com/office/powerpoint/2010/main" val="216992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47E65A-A89F-5C9F-4BB1-5125829F1D3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A3A7AF6-5E98-6BA8-3A79-6798DB7F7681}"/>
              </a:ext>
            </a:extLst>
          </p:cNvPr>
          <p:cNvSpPr>
            <a:spLocks noGrp="1" noRot="1" noChangeAspect="1"/>
          </p:cNvSpPr>
          <p:nvPr>
            <p:ph type="sldImg"/>
          </p:nvPr>
        </p:nvSpPr>
        <p:spPr>
          <a:xfrm>
            <a:off x="358775" y="431800"/>
            <a:ext cx="6140450" cy="3454400"/>
          </a:xfrm>
        </p:spPr>
      </p:sp>
      <p:sp>
        <p:nvSpPr>
          <p:cNvPr id="3" name="Notizenplatzhalter 2">
            <a:extLst>
              <a:ext uri="{FF2B5EF4-FFF2-40B4-BE49-F238E27FC236}">
                <a16:creationId xmlns:a16="http://schemas.microsoft.com/office/drawing/2014/main" id="{8B60F43A-D9CB-E24D-5B44-280BA1474F5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Enge Zusammenarbeit und Innovationspartnerschaft mit dem Karlsruher Institut für Technologie (KIT) im Bereich der Informatik und ihrer Anwendungsfelder.</a:t>
            </a:r>
          </a:p>
          <a:p>
            <a:endParaRPr lang="de-DE"/>
          </a:p>
        </p:txBody>
      </p:sp>
      <p:sp>
        <p:nvSpPr>
          <p:cNvPr id="4" name="Foliennummernplatzhalter 3">
            <a:extLst>
              <a:ext uri="{FF2B5EF4-FFF2-40B4-BE49-F238E27FC236}">
                <a16:creationId xmlns:a16="http://schemas.microsoft.com/office/drawing/2014/main" id="{F5DC97A7-FEE4-E5CA-A58A-20E508477C37}"/>
              </a:ext>
            </a:extLst>
          </p:cNvPr>
          <p:cNvSpPr>
            <a:spLocks noGrp="1"/>
          </p:cNvSpPr>
          <p:nvPr>
            <p:ph type="sldNum" sz="quarter" idx="10"/>
          </p:nvPr>
        </p:nvSpPr>
        <p:spPr/>
        <p:txBody>
          <a:bodyPr/>
          <a:lstStyle/>
          <a:p>
            <a:fld id="{92DA5471-CC57-402A-9527-36A1D012F698}" type="slidenum">
              <a:rPr lang="de-DE" noProof="0" smtClean="0"/>
              <a:t>4</a:t>
            </a:fld>
            <a:endParaRPr lang="de-DE" noProof="0"/>
          </a:p>
        </p:txBody>
      </p:sp>
    </p:spTree>
    <p:extLst>
      <p:ext uri="{BB962C8B-B14F-4D97-AF65-F5344CB8AC3E}">
        <p14:creationId xmlns:p14="http://schemas.microsoft.com/office/powerpoint/2010/main" val="1567546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E9C281-AAAC-2063-8EEF-E0D065E64F1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7B60D4F-E6FC-5964-C112-06990D5B85BD}"/>
              </a:ext>
            </a:extLst>
          </p:cNvPr>
          <p:cNvSpPr>
            <a:spLocks noGrp="1" noRot="1" noChangeAspect="1"/>
          </p:cNvSpPr>
          <p:nvPr>
            <p:ph type="sldImg"/>
          </p:nvPr>
        </p:nvSpPr>
        <p:spPr>
          <a:xfrm>
            <a:off x="358775" y="431800"/>
            <a:ext cx="6140450" cy="3454400"/>
          </a:xfrm>
        </p:spPr>
      </p:sp>
      <p:sp>
        <p:nvSpPr>
          <p:cNvPr id="3" name="Notizenplatzhalter 2">
            <a:extLst>
              <a:ext uri="{FF2B5EF4-FFF2-40B4-BE49-F238E27FC236}">
                <a16:creationId xmlns:a16="http://schemas.microsoft.com/office/drawing/2014/main" id="{A67E504C-A740-529F-3D0F-A43662238DE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Enge Zusammenarbeit und Innovationspartnerschaft mit dem Karlsruher Institut für Technologie (KIT) im Bereich der Informatik und ihrer Anwendungsfelder.</a:t>
            </a:r>
          </a:p>
          <a:p>
            <a:endParaRPr lang="de-DE"/>
          </a:p>
        </p:txBody>
      </p:sp>
      <p:sp>
        <p:nvSpPr>
          <p:cNvPr id="4" name="Foliennummernplatzhalter 3">
            <a:extLst>
              <a:ext uri="{FF2B5EF4-FFF2-40B4-BE49-F238E27FC236}">
                <a16:creationId xmlns:a16="http://schemas.microsoft.com/office/drawing/2014/main" id="{57E22737-EAD9-407F-547D-4B15EBE36F64}"/>
              </a:ext>
            </a:extLst>
          </p:cNvPr>
          <p:cNvSpPr>
            <a:spLocks noGrp="1"/>
          </p:cNvSpPr>
          <p:nvPr>
            <p:ph type="sldNum" sz="quarter" idx="10"/>
          </p:nvPr>
        </p:nvSpPr>
        <p:spPr/>
        <p:txBody>
          <a:bodyPr/>
          <a:lstStyle/>
          <a:p>
            <a:fld id="{92DA5471-CC57-402A-9527-36A1D012F698}" type="slidenum">
              <a:rPr lang="de-DE" noProof="0" smtClean="0"/>
              <a:t>13</a:t>
            </a:fld>
            <a:endParaRPr lang="de-DE" noProof="0"/>
          </a:p>
        </p:txBody>
      </p:sp>
    </p:spTree>
    <p:extLst>
      <p:ext uri="{BB962C8B-B14F-4D97-AF65-F5344CB8AC3E}">
        <p14:creationId xmlns:p14="http://schemas.microsoft.com/office/powerpoint/2010/main" val="655562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0E9F9A-0FA5-CF45-6F45-2AAA34D66B4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38AD735-83B8-9EB8-73F1-06ABB17CEC3A}"/>
              </a:ext>
            </a:extLst>
          </p:cNvPr>
          <p:cNvSpPr>
            <a:spLocks noGrp="1" noRot="1" noChangeAspect="1"/>
          </p:cNvSpPr>
          <p:nvPr>
            <p:ph type="sldImg"/>
          </p:nvPr>
        </p:nvSpPr>
        <p:spPr>
          <a:xfrm>
            <a:off x="358775" y="431800"/>
            <a:ext cx="6140450" cy="3454400"/>
          </a:xfrm>
        </p:spPr>
      </p:sp>
      <p:sp>
        <p:nvSpPr>
          <p:cNvPr id="3" name="Notizenplatzhalter 2">
            <a:extLst>
              <a:ext uri="{FF2B5EF4-FFF2-40B4-BE49-F238E27FC236}">
                <a16:creationId xmlns:a16="http://schemas.microsoft.com/office/drawing/2014/main" id="{E3309F35-BCE5-19B0-D6EC-9F502A1735E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Enge Zusammenarbeit und Innovationspartnerschaft mit dem Karlsruher Institut für Technologie (KIT) im Bereich der Informatik und ihrer Anwendungsfelder.</a:t>
            </a:r>
          </a:p>
          <a:p>
            <a:endParaRPr lang="de-DE"/>
          </a:p>
        </p:txBody>
      </p:sp>
      <p:sp>
        <p:nvSpPr>
          <p:cNvPr id="4" name="Foliennummernplatzhalter 3">
            <a:extLst>
              <a:ext uri="{FF2B5EF4-FFF2-40B4-BE49-F238E27FC236}">
                <a16:creationId xmlns:a16="http://schemas.microsoft.com/office/drawing/2014/main" id="{61AA3173-3002-34F6-01B8-3C95659A93D3}"/>
              </a:ext>
            </a:extLst>
          </p:cNvPr>
          <p:cNvSpPr>
            <a:spLocks noGrp="1"/>
          </p:cNvSpPr>
          <p:nvPr>
            <p:ph type="sldNum" sz="quarter" idx="10"/>
          </p:nvPr>
        </p:nvSpPr>
        <p:spPr/>
        <p:txBody>
          <a:bodyPr/>
          <a:lstStyle/>
          <a:p>
            <a:fld id="{92DA5471-CC57-402A-9527-36A1D012F698}" type="slidenum">
              <a:rPr lang="de-DE" noProof="0" smtClean="0"/>
              <a:t>26</a:t>
            </a:fld>
            <a:endParaRPr lang="de-DE" noProof="0"/>
          </a:p>
        </p:txBody>
      </p:sp>
    </p:spTree>
    <p:extLst>
      <p:ext uri="{BB962C8B-B14F-4D97-AF65-F5344CB8AC3E}">
        <p14:creationId xmlns:p14="http://schemas.microsoft.com/office/powerpoint/2010/main" val="1236549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88D65-1BD3-E397-3466-7FD77FB50C0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668BDAF-D545-492C-4986-06D19647A7A6}"/>
              </a:ext>
            </a:extLst>
          </p:cNvPr>
          <p:cNvSpPr>
            <a:spLocks noGrp="1" noRot="1" noChangeAspect="1"/>
          </p:cNvSpPr>
          <p:nvPr>
            <p:ph type="sldImg"/>
          </p:nvPr>
        </p:nvSpPr>
        <p:spPr>
          <a:xfrm>
            <a:off x="358775" y="431800"/>
            <a:ext cx="6140450" cy="3454400"/>
          </a:xfrm>
        </p:spPr>
      </p:sp>
      <p:sp>
        <p:nvSpPr>
          <p:cNvPr id="3" name="Notizenplatzhalter 2">
            <a:extLst>
              <a:ext uri="{FF2B5EF4-FFF2-40B4-BE49-F238E27FC236}">
                <a16:creationId xmlns:a16="http://schemas.microsoft.com/office/drawing/2014/main" id="{03FAC4C8-0216-D7D7-6F7C-726FA9748AA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Enge Zusammenarbeit und Innovationspartnerschaft mit dem Karlsruher Institut für Technologie (KIT) im Bereich der Informatik und ihrer Anwendungsfelder.</a:t>
            </a:r>
          </a:p>
          <a:p>
            <a:endParaRPr lang="de-DE"/>
          </a:p>
        </p:txBody>
      </p:sp>
      <p:sp>
        <p:nvSpPr>
          <p:cNvPr id="4" name="Foliennummernplatzhalter 3">
            <a:extLst>
              <a:ext uri="{FF2B5EF4-FFF2-40B4-BE49-F238E27FC236}">
                <a16:creationId xmlns:a16="http://schemas.microsoft.com/office/drawing/2014/main" id="{FD9F5955-B529-8B50-E65E-B0959B01DFF0}"/>
              </a:ext>
            </a:extLst>
          </p:cNvPr>
          <p:cNvSpPr>
            <a:spLocks noGrp="1"/>
          </p:cNvSpPr>
          <p:nvPr>
            <p:ph type="sldNum" sz="quarter" idx="10"/>
          </p:nvPr>
        </p:nvSpPr>
        <p:spPr/>
        <p:txBody>
          <a:bodyPr/>
          <a:lstStyle/>
          <a:p>
            <a:fld id="{92DA5471-CC57-402A-9527-36A1D012F698}" type="slidenum">
              <a:rPr lang="de-DE" noProof="0" smtClean="0"/>
              <a:t>27</a:t>
            </a:fld>
            <a:endParaRPr lang="de-DE" noProof="0"/>
          </a:p>
        </p:txBody>
      </p:sp>
    </p:spTree>
    <p:extLst>
      <p:ext uri="{BB962C8B-B14F-4D97-AF65-F5344CB8AC3E}">
        <p14:creationId xmlns:p14="http://schemas.microsoft.com/office/powerpoint/2010/main" val="682650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48063-F890-8E31-A82D-F066B9A7270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4A3B206-7E91-4D63-41FB-F9AFE590E5F7}"/>
              </a:ext>
            </a:extLst>
          </p:cNvPr>
          <p:cNvSpPr>
            <a:spLocks noGrp="1" noRot="1" noChangeAspect="1"/>
          </p:cNvSpPr>
          <p:nvPr>
            <p:ph type="sldImg"/>
          </p:nvPr>
        </p:nvSpPr>
        <p:spPr>
          <a:xfrm>
            <a:off x="358775" y="431800"/>
            <a:ext cx="6140450" cy="3454400"/>
          </a:xfrm>
        </p:spPr>
      </p:sp>
      <p:sp>
        <p:nvSpPr>
          <p:cNvPr id="3" name="Notizenplatzhalter 2">
            <a:extLst>
              <a:ext uri="{FF2B5EF4-FFF2-40B4-BE49-F238E27FC236}">
                <a16:creationId xmlns:a16="http://schemas.microsoft.com/office/drawing/2014/main" id="{D81A1700-6D97-FB21-992E-1829E743C4E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Enge Zusammenarbeit und Innovationspartnerschaft mit dem Karlsruher Institut für Technologie (KIT) im Bereich der Informatik und ihrer Anwendungsfelder.</a:t>
            </a:r>
          </a:p>
          <a:p>
            <a:endParaRPr lang="de-DE"/>
          </a:p>
        </p:txBody>
      </p:sp>
      <p:sp>
        <p:nvSpPr>
          <p:cNvPr id="4" name="Foliennummernplatzhalter 3">
            <a:extLst>
              <a:ext uri="{FF2B5EF4-FFF2-40B4-BE49-F238E27FC236}">
                <a16:creationId xmlns:a16="http://schemas.microsoft.com/office/drawing/2014/main" id="{A0FA4EA5-87D7-B9FB-FEAB-99BB7E4D1E24}"/>
              </a:ext>
            </a:extLst>
          </p:cNvPr>
          <p:cNvSpPr>
            <a:spLocks noGrp="1"/>
          </p:cNvSpPr>
          <p:nvPr>
            <p:ph type="sldNum" sz="quarter" idx="10"/>
          </p:nvPr>
        </p:nvSpPr>
        <p:spPr/>
        <p:txBody>
          <a:bodyPr/>
          <a:lstStyle/>
          <a:p>
            <a:fld id="{92DA5471-CC57-402A-9527-36A1D012F698}" type="slidenum">
              <a:rPr lang="de-DE" noProof="0" smtClean="0"/>
              <a:t>28</a:t>
            </a:fld>
            <a:endParaRPr lang="de-DE" noProof="0"/>
          </a:p>
        </p:txBody>
      </p:sp>
    </p:spTree>
    <p:extLst>
      <p:ext uri="{BB962C8B-B14F-4D97-AF65-F5344CB8AC3E}">
        <p14:creationId xmlns:p14="http://schemas.microsoft.com/office/powerpoint/2010/main" val="28387292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el">
    <p:spTree>
      <p:nvGrpSpPr>
        <p:cNvPr id="1" name=""/>
        <p:cNvGrpSpPr/>
        <p:nvPr/>
      </p:nvGrpSpPr>
      <p:grpSpPr>
        <a:xfrm>
          <a:off x="0" y="0"/>
          <a:ext cx="0" cy="0"/>
          <a:chOff x="0" y="0"/>
          <a:chExt cx="0" cy="0"/>
        </a:xfrm>
      </p:grpSpPr>
      <p:sp>
        <p:nvSpPr>
          <p:cNvPr id="8" name="Bildplatzhalter 2"/>
          <p:cNvSpPr>
            <a:spLocks noGrp="1"/>
          </p:cNvSpPr>
          <p:nvPr>
            <p:ph type="pic" sz="quarter" idx="16"/>
          </p:nvPr>
        </p:nvSpPr>
        <p:spPr bwMode="gray">
          <a:xfrm>
            <a:off x="3503997" y="-10885"/>
            <a:ext cx="8741226" cy="6912883"/>
          </a:xfrm>
          <a:custGeom>
            <a:avLst/>
            <a:gdLst>
              <a:gd name="connsiteX0" fmla="*/ 0 w 4942342"/>
              <a:gd name="connsiteY0" fmla="*/ 1567996 h 1567996"/>
              <a:gd name="connsiteX1" fmla="*/ 391999 w 4942342"/>
              <a:gd name="connsiteY1" fmla="*/ 0 h 1567996"/>
              <a:gd name="connsiteX2" fmla="*/ 4550343 w 4942342"/>
              <a:gd name="connsiteY2" fmla="*/ 0 h 1567996"/>
              <a:gd name="connsiteX3" fmla="*/ 4942342 w 4942342"/>
              <a:gd name="connsiteY3" fmla="*/ 1567996 h 1567996"/>
              <a:gd name="connsiteX4" fmla="*/ 0 w 4942342"/>
              <a:gd name="connsiteY4" fmla="*/ 1567996 h 1567996"/>
              <a:gd name="connsiteX0" fmla="*/ 0 w 4942342"/>
              <a:gd name="connsiteY0" fmla="*/ 1578882 h 1578882"/>
              <a:gd name="connsiteX1" fmla="*/ 391999 w 4942342"/>
              <a:gd name="connsiteY1" fmla="*/ 10886 h 1578882"/>
              <a:gd name="connsiteX2" fmla="*/ 3233171 w 4942342"/>
              <a:gd name="connsiteY2" fmla="*/ 0 h 1578882"/>
              <a:gd name="connsiteX3" fmla="*/ 4942342 w 4942342"/>
              <a:gd name="connsiteY3" fmla="*/ 1578882 h 1578882"/>
              <a:gd name="connsiteX4" fmla="*/ 0 w 4942342"/>
              <a:gd name="connsiteY4" fmla="*/ 1578882 h 1578882"/>
              <a:gd name="connsiteX0" fmla="*/ 0 w 4082371"/>
              <a:gd name="connsiteY0" fmla="*/ 1578882 h 1600654"/>
              <a:gd name="connsiteX1" fmla="*/ 391999 w 4082371"/>
              <a:gd name="connsiteY1" fmla="*/ 10886 h 1600654"/>
              <a:gd name="connsiteX2" fmla="*/ 3233171 w 4082371"/>
              <a:gd name="connsiteY2" fmla="*/ 0 h 1600654"/>
              <a:gd name="connsiteX3" fmla="*/ 4082371 w 4082371"/>
              <a:gd name="connsiteY3" fmla="*/ 1600654 h 1600654"/>
              <a:gd name="connsiteX4" fmla="*/ 0 w 4082371"/>
              <a:gd name="connsiteY4" fmla="*/ 1578882 h 1600654"/>
              <a:gd name="connsiteX0" fmla="*/ 0 w 4082371"/>
              <a:gd name="connsiteY0" fmla="*/ 6869339 h 6891111"/>
              <a:gd name="connsiteX1" fmla="*/ 113 w 4082371"/>
              <a:gd name="connsiteY1" fmla="*/ 0 h 6891111"/>
              <a:gd name="connsiteX2" fmla="*/ 3233171 w 4082371"/>
              <a:gd name="connsiteY2" fmla="*/ 5290457 h 6891111"/>
              <a:gd name="connsiteX3" fmla="*/ 4082371 w 4082371"/>
              <a:gd name="connsiteY3" fmla="*/ 6891111 h 6891111"/>
              <a:gd name="connsiteX4" fmla="*/ 0 w 4082371"/>
              <a:gd name="connsiteY4" fmla="*/ 6869339 h 6891111"/>
              <a:gd name="connsiteX0" fmla="*/ 0 w 7413285"/>
              <a:gd name="connsiteY0" fmla="*/ 6869339 h 6891111"/>
              <a:gd name="connsiteX1" fmla="*/ 113 w 7413285"/>
              <a:gd name="connsiteY1" fmla="*/ 0 h 6891111"/>
              <a:gd name="connsiteX2" fmla="*/ 7413285 w 7413285"/>
              <a:gd name="connsiteY2" fmla="*/ 0 h 6891111"/>
              <a:gd name="connsiteX3" fmla="*/ 4082371 w 7413285"/>
              <a:gd name="connsiteY3" fmla="*/ 6891111 h 6891111"/>
              <a:gd name="connsiteX4" fmla="*/ 0 w 7413285"/>
              <a:gd name="connsiteY4" fmla="*/ 6869339 h 6891111"/>
              <a:gd name="connsiteX0" fmla="*/ 0 w 8229600"/>
              <a:gd name="connsiteY0" fmla="*/ 6869339 h 6891111"/>
              <a:gd name="connsiteX1" fmla="*/ 113 w 8229600"/>
              <a:gd name="connsiteY1" fmla="*/ 0 h 6891111"/>
              <a:gd name="connsiteX2" fmla="*/ 8229600 w 8229600"/>
              <a:gd name="connsiteY2" fmla="*/ 45719 h 6891111"/>
              <a:gd name="connsiteX3" fmla="*/ 4082371 w 8229600"/>
              <a:gd name="connsiteY3" fmla="*/ 6891111 h 6891111"/>
              <a:gd name="connsiteX4" fmla="*/ 0 w 8229600"/>
              <a:gd name="connsiteY4" fmla="*/ 6869339 h 6891111"/>
              <a:gd name="connsiteX0" fmla="*/ 0 w 8229600"/>
              <a:gd name="connsiteY0" fmla="*/ 6869339 h 6891112"/>
              <a:gd name="connsiteX1" fmla="*/ 113 w 8229600"/>
              <a:gd name="connsiteY1" fmla="*/ 0 h 6891112"/>
              <a:gd name="connsiteX2" fmla="*/ 8229600 w 8229600"/>
              <a:gd name="connsiteY2" fmla="*/ 45719 h 6891112"/>
              <a:gd name="connsiteX3" fmla="*/ 5159828 w 8229600"/>
              <a:gd name="connsiteY3" fmla="*/ 6891112 h 6891112"/>
              <a:gd name="connsiteX4" fmla="*/ 0 w 8229600"/>
              <a:gd name="connsiteY4" fmla="*/ 6869339 h 6891112"/>
              <a:gd name="connsiteX0" fmla="*/ 0 w 12224657"/>
              <a:gd name="connsiteY0" fmla="*/ 6869339 h 6923769"/>
              <a:gd name="connsiteX1" fmla="*/ 113 w 12224657"/>
              <a:gd name="connsiteY1" fmla="*/ 0 h 6923769"/>
              <a:gd name="connsiteX2" fmla="*/ 8229600 w 12224657"/>
              <a:gd name="connsiteY2" fmla="*/ 45719 h 6923769"/>
              <a:gd name="connsiteX3" fmla="*/ 12224657 w 12224657"/>
              <a:gd name="connsiteY3" fmla="*/ 6923769 h 6923769"/>
              <a:gd name="connsiteX4" fmla="*/ 0 w 12224657"/>
              <a:gd name="connsiteY4" fmla="*/ 6869339 h 6923769"/>
              <a:gd name="connsiteX0" fmla="*/ 0 w 12224657"/>
              <a:gd name="connsiteY0" fmla="*/ 6869339 h 6923769"/>
              <a:gd name="connsiteX1" fmla="*/ 113 w 12224657"/>
              <a:gd name="connsiteY1" fmla="*/ 0 h 6923769"/>
              <a:gd name="connsiteX2" fmla="*/ 8229600 w 12224657"/>
              <a:gd name="connsiteY2" fmla="*/ 45719 h 6923769"/>
              <a:gd name="connsiteX3" fmla="*/ 12224657 w 12224657"/>
              <a:gd name="connsiteY3" fmla="*/ 6923769 h 6923769"/>
              <a:gd name="connsiteX4" fmla="*/ 0 w 12224657"/>
              <a:gd name="connsiteY4" fmla="*/ 6869339 h 6923769"/>
              <a:gd name="connsiteX0" fmla="*/ 0 w 12224657"/>
              <a:gd name="connsiteY0" fmla="*/ 6858453 h 6912883"/>
              <a:gd name="connsiteX1" fmla="*/ 5388541 w 12224657"/>
              <a:gd name="connsiteY1" fmla="*/ 0 h 6912883"/>
              <a:gd name="connsiteX2" fmla="*/ 8229600 w 12224657"/>
              <a:gd name="connsiteY2" fmla="*/ 34833 h 6912883"/>
              <a:gd name="connsiteX3" fmla="*/ 12224657 w 12224657"/>
              <a:gd name="connsiteY3" fmla="*/ 6912883 h 6912883"/>
              <a:gd name="connsiteX4" fmla="*/ 0 w 12224657"/>
              <a:gd name="connsiteY4" fmla="*/ 6858453 h 6912883"/>
              <a:gd name="connsiteX0" fmla="*/ 0 w 12224657"/>
              <a:gd name="connsiteY0" fmla="*/ 6858453 h 6912883"/>
              <a:gd name="connsiteX1" fmla="*/ 5388541 w 12224657"/>
              <a:gd name="connsiteY1" fmla="*/ 0 h 6912883"/>
              <a:gd name="connsiteX2" fmla="*/ 8229600 w 12224657"/>
              <a:gd name="connsiteY2" fmla="*/ 34833 h 6912883"/>
              <a:gd name="connsiteX3" fmla="*/ 12224657 w 12224657"/>
              <a:gd name="connsiteY3" fmla="*/ 6912883 h 6912883"/>
              <a:gd name="connsiteX4" fmla="*/ 0 w 12224657"/>
              <a:gd name="connsiteY4" fmla="*/ 6858453 h 6912883"/>
              <a:gd name="connsiteX0" fmla="*/ 0 w 9372600"/>
              <a:gd name="connsiteY0" fmla="*/ 6945538 h 6945538"/>
              <a:gd name="connsiteX1" fmla="*/ 2536484 w 9372600"/>
              <a:gd name="connsiteY1" fmla="*/ 0 h 6945538"/>
              <a:gd name="connsiteX2" fmla="*/ 5377543 w 9372600"/>
              <a:gd name="connsiteY2" fmla="*/ 34833 h 6945538"/>
              <a:gd name="connsiteX3" fmla="*/ 9372600 w 9372600"/>
              <a:gd name="connsiteY3" fmla="*/ 6912883 h 6945538"/>
              <a:gd name="connsiteX4" fmla="*/ 0 w 9372600"/>
              <a:gd name="connsiteY4" fmla="*/ 6945538 h 6945538"/>
              <a:gd name="connsiteX0" fmla="*/ 0 w 9372600"/>
              <a:gd name="connsiteY0" fmla="*/ 6965133 h 6965133"/>
              <a:gd name="connsiteX1" fmla="*/ 2536484 w 9372600"/>
              <a:gd name="connsiteY1" fmla="*/ 19595 h 6965133"/>
              <a:gd name="connsiteX2" fmla="*/ 8730343 w 9372600"/>
              <a:gd name="connsiteY2" fmla="*/ 0 h 6965133"/>
              <a:gd name="connsiteX3" fmla="*/ 9372600 w 9372600"/>
              <a:gd name="connsiteY3" fmla="*/ 6932478 h 6965133"/>
              <a:gd name="connsiteX4" fmla="*/ 0 w 9372600"/>
              <a:gd name="connsiteY4" fmla="*/ 6965133 h 6965133"/>
              <a:gd name="connsiteX0" fmla="*/ 0 w 8730343"/>
              <a:gd name="connsiteY0" fmla="*/ 6965133 h 7128421"/>
              <a:gd name="connsiteX1" fmla="*/ 2536484 w 8730343"/>
              <a:gd name="connsiteY1" fmla="*/ 19595 h 7128421"/>
              <a:gd name="connsiteX2" fmla="*/ 8730343 w 8730343"/>
              <a:gd name="connsiteY2" fmla="*/ 0 h 7128421"/>
              <a:gd name="connsiteX3" fmla="*/ 6727371 w 8730343"/>
              <a:gd name="connsiteY3" fmla="*/ 7128421 h 7128421"/>
              <a:gd name="connsiteX4" fmla="*/ 0 w 8730343"/>
              <a:gd name="connsiteY4" fmla="*/ 6965133 h 7128421"/>
              <a:gd name="connsiteX0" fmla="*/ 0 w 8762999"/>
              <a:gd name="connsiteY0" fmla="*/ 6965133 h 6965133"/>
              <a:gd name="connsiteX1" fmla="*/ 2536484 w 8762999"/>
              <a:gd name="connsiteY1" fmla="*/ 19595 h 6965133"/>
              <a:gd name="connsiteX2" fmla="*/ 8730343 w 8762999"/>
              <a:gd name="connsiteY2" fmla="*/ 0 h 6965133"/>
              <a:gd name="connsiteX3" fmla="*/ 8762999 w 8762999"/>
              <a:gd name="connsiteY3" fmla="*/ 6910707 h 6965133"/>
              <a:gd name="connsiteX4" fmla="*/ 0 w 8762999"/>
              <a:gd name="connsiteY4" fmla="*/ 6965133 h 6965133"/>
              <a:gd name="connsiteX0" fmla="*/ 0 w 8730341"/>
              <a:gd name="connsiteY0" fmla="*/ 6899819 h 6910707"/>
              <a:gd name="connsiteX1" fmla="*/ 2503826 w 8730341"/>
              <a:gd name="connsiteY1" fmla="*/ 19595 h 6910707"/>
              <a:gd name="connsiteX2" fmla="*/ 8697685 w 8730341"/>
              <a:gd name="connsiteY2" fmla="*/ 0 h 6910707"/>
              <a:gd name="connsiteX3" fmla="*/ 8730341 w 8730341"/>
              <a:gd name="connsiteY3" fmla="*/ 6910707 h 6910707"/>
              <a:gd name="connsiteX4" fmla="*/ 0 w 8730341"/>
              <a:gd name="connsiteY4" fmla="*/ 6899819 h 6910707"/>
              <a:gd name="connsiteX0" fmla="*/ 0 w 8741226"/>
              <a:gd name="connsiteY0" fmla="*/ 6899819 h 6910707"/>
              <a:gd name="connsiteX1" fmla="*/ 2503826 w 8741226"/>
              <a:gd name="connsiteY1" fmla="*/ 19595 h 6910707"/>
              <a:gd name="connsiteX2" fmla="*/ 8697685 w 8741226"/>
              <a:gd name="connsiteY2" fmla="*/ 0 h 6910707"/>
              <a:gd name="connsiteX3" fmla="*/ 8741226 w 8741226"/>
              <a:gd name="connsiteY3" fmla="*/ 6910707 h 6910707"/>
              <a:gd name="connsiteX4" fmla="*/ 0 w 8741226"/>
              <a:gd name="connsiteY4" fmla="*/ 6899819 h 6910707"/>
              <a:gd name="connsiteX0" fmla="*/ 0 w 8741226"/>
              <a:gd name="connsiteY0" fmla="*/ 6899819 h 6910707"/>
              <a:gd name="connsiteX1" fmla="*/ 2503826 w 8741226"/>
              <a:gd name="connsiteY1" fmla="*/ 19595 h 6910707"/>
              <a:gd name="connsiteX2" fmla="*/ 8708570 w 8741226"/>
              <a:gd name="connsiteY2" fmla="*/ 0 h 6910707"/>
              <a:gd name="connsiteX3" fmla="*/ 8741226 w 8741226"/>
              <a:gd name="connsiteY3" fmla="*/ 6910707 h 6910707"/>
              <a:gd name="connsiteX4" fmla="*/ 0 w 8741226"/>
              <a:gd name="connsiteY4" fmla="*/ 6899819 h 6910707"/>
              <a:gd name="connsiteX0" fmla="*/ 0 w 8741226"/>
              <a:gd name="connsiteY0" fmla="*/ 6901995 h 6912883"/>
              <a:gd name="connsiteX1" fmla="*/ 2503826 w 8741226"/>
              <a:gd name="connsiteY1" fmla="*/ 0 h 6912883"/>
              <a:gd name="connsiteX2" fmla="*/ 8708570 w 8741226"/>
              <a:gd name="connsiteY2" fmla="*/ 2176 h 6912883"/>
              <a:gd name="connsiteX3" fmla="*/ 8741226 w 8741226"/>
              <a:gd name="connsiteY3" fmla="*/ 6912883 h 6912883"/>
              <a:gd name="connsiteX4" fmla="*/ 0 w 8741226"/>
              <a:gd name="connsiteY4" fmla="*/ 6901995 h 6912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1226" h="6912883">
                <a:moveTo>
                  <a:pt x="0" y="6901995"/>
                </a:moveTo>
                <a:lnTo>
                  <a:pt x="2503826" y="0"/>
                </a:lnTo>
                <a:lnTo>
                  <a:pt x="8708570" y="2176"/>
                </a:lnTo>
                <a:lnTo>
                  <a:pt x="8741226" y="6912883"/>
                </a:lnTo>
                <a:lnTo>
                  <a:pt x="0" y="6901995"/>
                </a:lnTo>
                <a:close/>
              </a:path>
            </a:pathLst>
          </a:custGeom>
          <a:solidFill>
            <a:schemeClr val="bg1">
              <a:lumMod val="85000"/>
            </a:schemeClr>
          </a:solidFill>
        </p:spPr>
        <p:txBody>
          <a:bodyPr/>
          <a:lstStyle>
            <a:lvl1pPr marL="0" indent="0">
              <a:buNone/>
              <a:defRPr>
                <a:solidFill>
                  <a:schemeClr val="bg1">
                    <a:lumMod val="85000"/>
                  </a:schemeClr>
                </a:solidFill>
              </a:defRPr>
            </a:lvl1pPr>
          </a:lstStyle>
          <a:p>
            <a:endParaRPr lang="de-DE"/>
          </a:p>
        </p:txBody>
      </p:sp>
      <p:sp>
        <p:nvSpPr>
          <p:cNvPr id="10" name="Trennstrich"/>
          <p:cNvSpPr/>
          <p:nvPr userDrawn="1"/>
        </p:nvSpPr>
        <p:spPr>
          <a:xfrm>
            <a:off x="639159" y="1429733"/>
            <a:ext cx="930593" cy="5111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de-DE" err="1"/>
          </a:p>
        </p:txBody>
      </p:sp>
      <p:sp>
        <p:nvSpPr>
          <p:cNvPr id="9" name="Textplatzhalter 1"/>
          <p:cNvSpPr>
            <a:spLocks noGrp="1"/>
          </p:cNvSpPr>
          <p:nvPr>
            <p:ph type="body" sz="quarter" idx="13"/>
          </p:nvPr>
        </p:nvSpPr>
        <p:spPr>
          <a:xfrm>
            <a:off x="639159" y="763789"/>
            <a:ext cx="4155032" cy="420670"/>
          </a:xfrm>
        </p:spPr>
        <p:txBody>
          <a:bodyPr/>
          <a:lstStyle>
            <a:lvl1pPr marL="0" indent="0">
              <a:buNone/>
              <a:defRPr sz="2000">
                <a:solidFill>
                  <a:schemeClr val="accent2"/>
                </a:solidFill>
              </a:defRPr>
            </a:lvl1pPr>
          </a:lstStyle>
          <a:p>
            <a:r>
              <a:rPr lang="de-DE">
                <a:solidFill>
                  <a:schemeClr val="accent1"/>
                </a:solidFill>
              </a:rPr>
              <a:t>FZI Forschungszentrum Informatik</a:t>
            </a:r>
          </a:p>
        </p:txBody>
      </p:sp>
      <p:sp>
        <p:nvSpPr>
          <p:cNvPr id="7" name="Titel 1"/>
          <p:cNvSpPr>
            <a:spLocks noGrp="1"/>
          </p:cNvSpPr>
          <p:nvPr>
            <p:ph type="title" hasCustomPrompt="1"/>
          </p:nvPr>
        </p:nvSpPr>
        <p:spPr>
          <a:xfrm>
            <a:off x="639159" y="1726123"/>
            <a:ext cx="3411548" cy="2871513"/>
          </a:xfrm>
        </p:spPr>
        <p:txBody>
          <a:bodyPr/>
          <a:lstStyle>
            <a:lvl1pPr marL="0" indent="0">
              <a:buClr>
                <a:srgbClr val="0E2356"/>
              </a:buClr>
              <a:buSzPct val="110000"/>
              <a:buFont typeface="Source Sans Pro SemiBold" panose="020B0603030403020204" pitchFamily="34" charset="0"/>
              <a:buNone/>
              <a:defRPr sz="4400" b="1" baseline="0">
                <a:solidFill>
                  <a:srgbClr val="0E2356"/>
                </a:solidFill>
                <a:latin typeface="Source Sans Pro Black" panose="020B0803030403020204" pitchFamily="34" charset="0"/>
                <a:ea typeface="Source Sans Pro Black" panose="020B0803030403020204" pitchFamily="34" charset="0"/>
              </a:defRPr>
            </a:lvl1pPr>
          </a:lstStyle>
          <a:p>
            <a:r>
              <a:rPr lang="de-DE"/>
              <a:t>TEXT</a:t>
            </a:r>
            <a:br>
              <a:rPr lang="de-DE"/>
            </a:br>
            <a:r>
              <a:rPr lang="de-DE"/>
              <a:t>STEHT </a:t>
            </a:r>
            <a:br>
              <a:rPr lang="de-DE"/>
            </a:br>
            <a:r>
              <a:rPr lang="de-DE"/>
              <a:t>HIER</a:t>
            </a:r>
          </a:p>
        </p:txBody>
      </p:sp>
      <p:sp>
        <p:nvSpPr>
          <p:cNvPr id="14" name="Bildplatzhalter 9">
            <a:extLst>
              <a:ext uri="{FF2B5EF4-FFF2-40B4-BE49-F238E27FC236}">
                <a16:creationId xmlns:a16="http://schemas.microsoft.com/office/drawing/2014/main" id="{4173E5ED-4A98-4A9D-BF40-3C40B45DF2EF}"/>
              </a:ext>
            </a:extLst>
          </p:cNvPr>
          <p:cNvSpPr>
            <a:spLocks noGrp="1"/>
          </p:cNvSpPr>
          <p:nvPr>
            <p:ph type="pic" sz="quarter" idx="15" hasCustomPrompt="1"/>
          </p:nvPr>
        </p:nvSpPr>
        <p:spPr bwMode="gray">
          <a:xfrm>
            <a:off x="-14470" y="5470681"/>
            <a:ext cx="11144815" cy="1457609"/>
          </a:xfrm>
          <a:custGeom>
            <a:avLst/>
            <a:gdLst>
              <a:gd name="connsiteX0" fmla="*/ 0 w 12189600"/>
              <a:gd name="connsiteY0" fmla="*/ 0 h 2383200"/>
              <a:gd name="connsiteX1" fmla="*/ 12189600 w 12189600"/>
              <a:gd name="connsiteY1" fmla="*/ 0 h 2383200"/>
              <a:gd name="connsiteX2" fmla="*/ 12189600 w 12189600"/>
              <a:gd name="connsiteY2" fmla="*/ 0 h 2383200"/>
              <a:gd name="connsiteX3" fmla="*/ 12189600 w 12189600"/>
              <a:gd name="connsiteY3" fmla="*/ 2383200 h 2383200"/>
              <a:gd name="connsiteX4" fmla="*/ 12189600 w 12189600"/>
              <a:gd name="connsiteY4" fmla="*/ 2383200 h 2383200"/>
              <a:gd name="connsiteX5" fmla="*/ 0 w 12189600"/>
              <a:gd name="connsiteY5" fmla="*/ 2383200 h 2383200"/>
              <a:gd name="connsiteX6" fmla="*/ 0 w 12189600"/>
              <a:gd name="connsiteY6" fmla="*/ 2383200 h 2383200"/>
              <a:gd name="connsiteX7" fmla="*/ 0 w 12189600"/>
              <a:gd name="connsiteY7" fmla="*/ 0 h 2383200"/>
              <a:gd name="connsiteX0" fmla="*/ 0 w 12189600"/>
              <a:gd name="connsiteY0" fmla="*/ 0 h 2383200"/>
              <a:gd name="connsiteX1" fmla="*/ 12189600 w 12189600"/>
              <a:gd name="connsiteY1" fmla="*/ 0 h 2383200"/>
              <a:gd name="connsiteX2" fmla="*/ 11709767 w 12189600"/>
              <a:gd name="connsiteY2" fmla="*/ 217284 h 2383200"/>
              <a:gd name="connsiteX3" fmla="*/ 12189600 w 12189600"/>
              <a:gd name="connsiteY3" fmla="*/ 2383200 h 2383200"/>
              <a:gd name="connsiteX4" fmla="*/ 12189600 w 12189600"/>
              <a:gd name="connsiteY4" fmla="*/ 2383200 h 2383200"/>
              <a:gd name="connsiteX5" fmla="*/ 0 w 12189600"/>
              <a:gd name="connsiteY5" fmla="*/ 2383200 h 2383200"/>
              <a:gd name="connsiteX6" fmla="*/ 0 w 12189600"/>
              <a:gd name="connsiteY6" fmla="*/ 2383200 h 2383200"/>
              <a:gd name="connsiteX7" fmla="*/ 0 w 12189600"/>
              <a:gd name="connsiteY7" fmla="*/ 0 h 2383200"/>
              <a:gd name="connsiteX0" fmla="*/ 0 w 12198654"/>
              <a:gd name="connsiteY0" fmla="*/ 0 h 2383200"/>
              <a:gd name="connsiteX1" fmla="*/ 12189600 w 12198654"/>
              <a:gd name="connsiteY1" fmla="*/ 0 h 2383200"/>
              <a:gd name="connsiteX2" fmla="*/ 12198654 w 12198654"/>
              <a:gd name="connsiteY2" fmla="*/ 1520983 h 2383200"/>
              <a:gd name="connsiteX3" fmla="*/ 12189600 w 12198654"/>
              <a:gd name="connsiteY3" fmla="*/ 2383200 h 2383200"/>
              <a:gd name="connsiteX4" fmla="*/ 12189600 w 12198654"/>
              <a:gd name="connsiteY4" fmla="*/ 2383200 h 2383200"/>
              <a:gd name="connsiteX5" fmla="*/ 0 w 12198654"/>
              <a:gd name="connsiteY5" fmla="*/ 2383200 h 2383200"/>
              <a:gd name="connsiteX6" fmla="*/ 0 w 12198654"/>
              <a:gd name="connsiteY6" fmla="*/ 2383200 h 2383200"/>
              <a:gd name="connsiteX7" fmla="*/ 0 w 12198654"/>
              <a:gd name="connsiteY7" fmla="*/ 0 h 2383200"/>
              <a:gd name="connsiteX0" fmla="*/ 0 w 12216761"/>
              <a:gd name="connsiteY0" fmla="*/ 0 h 2383200"/>
              <a:gd name="connsiteX1" fmla="*/ 12216761 w 12216761"/>
              <a:gd name="connsiteY1" fmla="*/ 1059255 h 2383200"/>
              <a:gd name="connsiteX2" fmla="*/ 12198654 w 12216761"/>
              <a:gd name="connsiteY2" fmla="*/ 1520983 h 2383200"/>
              <a:gd name="connsiteX3" fmla="*/ 12189600 w 12216761"/>
              <a:gd name="connsiteY3" fmla="*/ 2383200 h 2383200"/>
              <a:gd name="connsiteX4" fmla="*/ 12189600 w 12216761"/>
              <a:gd name="connsiteY4" fmla="*/ 2383200 h 2383200"/>
              <a:gd name="connsiteX5" fmla="*/ 0 w 12216761"/>
              <a:gd name="connsiteY5" fmla="*/ 2383200 h 2383200"/>
              <a:gd name="connsiteX6" fmla="*/ 0 w 12216761"/>
              <a:gd name="connsiteY6" fmla="*/ 2383200 h 2383200"/>
              <a:gd name="connsiteX7" fmla="*/ 0 w 12216761"/>
              <a:gd name="connsiteY7" fmla="*/ 0 h 2383200"/>
              <a:gd name="connsiteX0" fmla="*/ 0 w 12334456"/>
              <a:gd name="connsiteY0" fmla="*/ 0 h 2383200"/>
              <a:gd name="connsiteX1" fmla="*/ 12216761 w 12334456"/>
              <a:gd name="connsiteY1" fmla="*/ 1059255 h 2383200"/>
              <a:gd name="connsiteX2" fmla="*/ 12334456 w 12334456"/>
              <a:gd name="connsiteY2" fmla="*/ 2381062 h 2383200"/>
              <a:gd name="connsiteX3" fmla="*/ 12189600 w 12334456"/>
              <a:gd name="connsiteY3" fmla="*/ 2383200 h 2383200"/>
              <a:gd name="connsiteX4" fmla="*/ 12189600 w 12334456"/>
              <a:gd name="connsiteY4" fmla="*/ 2383200 h 2383200"/>
              <a:gd name="connsiteX5" fmla="*/ 0 w 12334456"/>
              <a:gd name="connsiteY5" fmla="*/ 2383200 h 2383200"/>
              <a:gd name="connsiteX6" fmla="*/ 0 w 12334456"/>
              <a:gd name="connsiteY6" fmla="*/ 2383200 h 2383200"/>
              <a:gd name="connsiteX7" fmla="*/ 0 w 12334456"/>
              <a:gd name="connsiteY7" fmla="*/ 0 h 2383200"/>
              <a:gd name="connsiteX0" fmla="*/ 0 w 12334456"/>
              <a:gd name="connsiteY0" fmla="*/ 0 h 2383200"/>
              <a:gd name="connsiteX1" fmla="*/ 11130345 w 12334456"/>
              <a:gd name="connsiteY1" fmla="*/ 1883120 h 2383200"/>
              <a:gd name="connsiteX2" fmla="*/ 12334456 w 12334456"/>
              <a:gd name="connsiteY2" fmla="*/ 2381062 h 2383200"/>
              <a:gd name="connsiteX3" fmla="*/ 12189600 w 12334456"/>
              <a:gd name="connsiteY3" fmla="*/ 2383200 h 2383200"/>
              <a:gd name="connsiteX4" fmla="*/ 12189600 w 12334456"/>
              <a:gd name="connsiteY4" fmla="*/ 2383200 h 2383200"/>
              <a:gd name="connsiteX5" fmla="*/ 0 w 12334456"/>
              <a:gd name="connsiteY5" fmla="*/ 2383200 h 2383200"/>
              <a:gd name="connsiteX6" fmla="*/ 0 w 12334456"/>
              <a:gd name="connsiteY6" fmla="*/ 2383200 h 2383200"/>
              <a:gd name="connsiteX7" fmla="*/ 0 w 12334456"/>
              <a:gd name="connsiteY7" fmla="*/ 0 h 2383200"/>
              <a:gd name="connsiteX0" fmla="*/ 0 w 12334456"/>
              <a:gd name="connsiteY0" fmla="*/ 0 h 2437521"/>
              <a:gd name="connsiteX1" fmla="*/ 11130345 w 12334456"/>
              <a:gd name="connsiteY1" fmla="*/ 1883120 h 2437521"/>
              <a:gd name="connsiteX2" fmla="*/ 12334456 w 12334456"/>
              <a:gd name="connsiteY2" fmla="*/ 2381062 h 2437521"/>
              <a:gd name="connsiteX3" fmla="*/ 12189600 w 12334456"/>
              <a:gd name="connsiteY3" fmla="*/ 2383200 h 2437521"/>
              <a:gd name="connsiteX4" fmla="*/ 10849688 w 12334456"/>
              <a:gd name="connsiteY4" fmla="*/ 2437521 h 2437521"/>
              <a:gd name="connsiteX5" fmla="*/ 0 w 12334456"/>
              <a:gd name="connsiteY5" fmla="*/ 2383200 h 2437521"/>
              <a:gd name="connsiteX6" fmla="*/ 0 w 12334456"/>
              <a:gd name="connsiteY6" fmla="*/ 2383200 h 2437521"/>
              <a:gd name="connsiteX7" fmla="*/ 0 w 12334456"/>
              <a:gd name="connsiteY7" fmla="*/ 0 h 2437521"/>
              <a:gd name="connsiteX0" fmla="*/ 0 w 12334456"/>
              <a:gd name="connsiteY0" fmla="*/ 0 h 2437521"/>
              <a:gd name="connsiteX1" fmla="*/ 220920 w 12334456"/>
              <a:gd name="connsiteY1" fmla="*/ 941559 h 2437521"/>
              <a:gd name="connsiteX2" fmla="*/ 12334456 w 12334456"/>
              <a:gd name="connsiteY2" fmla="*/ 2381062 h 2437521"/>
              <a:gd name="connsiteX3" fmla="*/ 12189600 w 12334456"/>
              <a:gd name="connsiteY3" fmla="*/ 2383200 h 2437521"/>
              <a:gd name="connsiteX4" fmla="*/ 10849688 w 12334456"/>
              <a:gd name="connsiteY4" fmla="*/ 2437521 h 2437521"/>
              <a:gd name="connsiteX5" fmla="*/ 0 w 12334456"/>
              <a:gd name="connsiteY5" fmla="*/ 2383200 h 2437521"/>
              <a:gd name="connsiteX6" fmla="*/ 0 w 12334456"/>
              <a:gd name="connsiteY6" fmla="*/ 2383200 h 2437521"/>
              <a:gd name="connsiteX7" fmla="*/ 0 w 12334456"/>
              <a:gd name="connsiteY7" fmla="*/ 0 h 2437521"/>
              <a:gd name="connsiteX0" fmla="*/ 0 w 12334456"/>
              <a:gd name="connsiteY0" fmla="*/ 796707 h 1495962"/>
              <a:gd name="connsiteX1" fmla="*/ 220920 w 12334456"/>
              <a:gd name="connsiteY1" fmla="*/ 0 h 1495962"/>
              <a:gd name="connsiteX2" fmla="*/ 12334456 w 12334456"/>
              <a:gd name="connsiteY2" fmla="*/ 1439503 h 1495962"/>
              <a:gd name="connsiteX3" fmla="*/ 12189600 w 12334456"/>
              <a:gd name="connsiteY3" fmla="*/ 1441641 h 1495962"/>
              <a:gd name="connsiteX4" fmla="*/ 10849688 w 12334456"/>
              <a:gd name="connsiteY4" fmla="*/ 1495962 h 1495962"/>
              <a:gd name="connsiteX5" fmla="*/ 0 w 12334456"/>
              <a:gd name="connsiteY5" fmla="*/ 1441641 h 1495962"/>
              <a:gd name="connsiteX6" fmla="*/ 0 w 12334456"/>
              <a:gd name="connsiteY6" fmla="*/ 1441641 h 1495962"/>
              <a:gd name="connsiteX7" fmla="*/ 0 w 12334456"/>
              <a:gd name="connsiteY7" fmla="*/ 796707 h 1495962"/>
              <a:gd name="connsiteX0" fmla="*/ 14470 w 12348926"/>
              <a:gd name="connsiteY0" fmla="*/ 742386 h 1441641"/>
              <a:gd name="connsiteX1" fmla="*/ 0 w 12348926"/>
              <a:gd name="connsiteY1" fmla="*/ 0 h 1441641"/>
              <a:gd name="connsiteX2" fmla="*/ 12348926 w 12348926"/>
              <a:gd name="connsiteY2" fmla="*/ 1385182 h 1441641"/>
              <a:gd name="connsiteX3" fmla="*/ 12204070 w 12348926"/>
              <a:gd name="connsiteY3" fmla="*/ 1387320 h 1441641"/>
              <a:gd name="connsiteX4" fmla="*/ 10864158 w 12348926"/>
              <a:gd name="connsiteY4" fmla="*/ 1441641 h 1441641"/>
              <a:gd name="connsiteX5" fmla="*/ 14470 w 12348926"/>
              <a:gd name="connsiteY5" fmla="*/ 1387320 h 1441641"/>
              <a:gd name="connsiteX6" fmla="*/ 14470 w 12348926"/>
              <a:gd name="connsiteY6" fmla="*/ 1387320 h 1441641"/>
              <a:gd name="connsiteX7" fmla="*/ 14470 w 12348926"/>
              <a:gd name="connsiteY7" fmla="*/ 742386 h 1441641"/>
              <a:gd name="connsiteX0" fmla="*/ 14470 w 12348926"/>
              <a:gd name="connsiteY0" fmla="*/ 742386 h 1441641"/>
              <a:gd name="connsiteX1" fmla="*/ 0 w 12348926"/>
              <a:gd name="connsiteY1" fmla="*/ 0 h 1441641"/>
              <a:gd name="connsiteX2" fmla="*/ 12348926 w 12348926"/>
              <a:gd name="connsiteY2" fmla="*/ 1385182 h 1441641"/>
              <a:gd name="connsiteX3" fmla="*/ 12204070 w 12348926"/>
              <a:gd name="connsiteY3" fmla="*/ 1387320 h 1441641"/>
              <a:gd name="connsiteX4" fmla="*/ 7840301 w 12348926"/>
              <a:gd name="connsiteY4" fmla="*/ 1441641 h 1441641"/>
              <a:gd name="connsiteX5" fmla="*/ 14470 w 12348926"/>
              <a:gd name="connsiteY5" fmla="*/ 1387320 h 1441641"/>
              <a:gd name="connsiteX6" fmla="*/ 14470 w 12348926"/>
              <a:gd name="connsiteY6" fmla="*/ 1387320 h 1441641"/>
              <a:gd name="connsiteX7" fmla="*/ 14470 w 12348926"/>
              <a:gd name="connsiteY7" fmla="*/ 742386 h 1441641"/>
              <a:gd name="connsiteX0" fmla="*/ 14470 w 12348926"/>
              <a:gd name="connsiteY0" fmla="*/ 742386 h 1441641"/>
              <a:gd name="connsiteX1" fmla="*/ 0 w 12348926"/>
              <a:gd name="connsiteY1" fmla="*/ 0 h 1441641"/>
              <a:gd name="connsiteX2" fmla="*/ 12348926 w 12348926"/>
              <a:gd name="connsiteY2" fmla="*/ 1385182 h 1441641"/>
              <a:gd name="connsiteX3" fmla="*/ 10185148 w 12348926"/>
              <a:gd name="connsiteY3" fmla="*/ 1441641 h 1441641"/>
              <a:gd name="connsiteX4" fmla="*/ 7840301 w 12348926"/>
              <a:gd name="connsiteY4" fmla="*/ 1441641 h 1441641"/>
              <a:gd name="connsiteX5" fmla="*/ 14470 w 12348926"/>
              <a:gd name="connsiteY5" fmla="*/ 1387320 h 1441641"/>
              <a:gd name="connsiteX6" fmla="*/ 14470 w 12348926"/>
              <a:gd name="connsiteY6" fmla="*/ 1387320 h 1441641"/>
              <a:gd name="connsiteX7" fmla="*/ 14470 w 12348926"/>
              <a:gd name="connsiteY7" fmla="*/ 742386 h 1441641"/>
              <a:gd name="connsiteX0" fmla="*/ 14470 w 11108601"/>
              <a:gd name="connsiteY0" fmla="*/ 742386 h 1457609"/>
              <a:gd name="connsiteX1" fmla="*/ 0 w 11108601"/>
              <a:gd name="connsiteY1" fmla="*/ 0 h 1457609"/>
              <a:gd name="connsiteX2" fmla="*/ 11108601 w 11108601"/>
              <a:gd name="connsiteY2" fmla="*/ 1457609 h 1457609"/>
              <a:gd name="connsiteX3" fmla="*/ 10185148 w 11108601"/>
              <a:gd name="connsiteY3" fmla="*/ 1441641 h 1457609"/>
              <a:gd name="connsiteX4" fmla="*/ 7840301 w 11108601"/>
              <a:gd name="connsiteY4" fmla="*/ 1441641 h 1457609"/>
              <a:gd name="connsiteX5" fmla="*/ 14470 w 11108601"/>
              <a:gd name="connsiteY5" fmla="*/ 1387320 h 1457609"/>
              <a:gd name="connsiteX6" fmla="*/ 14470 w 11108601"/>
              <a:gd name="connsiteY6" fmla="*/ 1387320 h 1457609"/>
              <a:gd name="connsiteX7" fmla="*/ 14470 w 11108601"/>
              <a:gd name="connsiteY7" fmla="*/ 742386 h 1457609"/>
              <a:gd name="connsiteX0" fmla="*/ 14470 w 11108601"/>
              <a:gd name="connsiteY0" fmla="*/ 742386 h 1457609"/>
              <a:gd name="connsiteX1" fmla="*/ 0 w 11108601"/>
              <a:gd name="connsiteY1" fmla="*/ 0 h 1457609"/>
              <a:gd name="connsiteX2" fmla="*/ 11108601 w 11108601"/>
              <a:gd name="connsiteY2" fmla="*/ 1457609 h 1457609"/>
              <a:gd name="connsiteX3" fmla="*/ 10185148 w 11108601"/>
              <a:gd name="connsiteY3" fmla="*/ 1441641 h 1457609"/>
              <a:gd name="connsiteX4" fmla="*/ 7840301 w 11108601"/>
              <a:gd name="connsiteY4" fmla="*/ 1441641 h 1457609"/>
              <a:gd name="connsiteX5" fmla="*/ 14470 w 11108601"/>
              <a:gd name="connsiteY5" fmla="*/ 1387320 h 1457609"/>
              <a:gd name="connsiteX6" fmla="*/ 14470 w 11108601"/>
              <a:gd name="connsiteY6" fmla="*/ 1387320 h 1457609"/>
              <a:gd name="connsiteX7" fmla="*/ 14470 w 11108601"/>
              <a:gd name="connsiteY7" fmla="*/ 742386 h 1457609"/>
              <a:gd name="connsiteX0" fmla="*/ 14470 w 11108601"/>
              <a:gd name="connsiteY0" fmla="*/ 742386 h 1704191"/>
              <a:gd name="connsiteX1" fmla="*/ 0 w 11108601"/>
              <a:gd name="connsiteY1" fmla="*/ 0 h 1704191"/>
              <a:gd name="connsiteX2" fmla="*/ 11108601 w 11108601"/>
              <a:gd name="connsiteY2" fmla="*/ 1457609 h 1704191"/>
              <a:gd name="connsiteX3" fmla="*/ 10230415 w 11108601"/>
              <a:gd name="connsiteY3" fmla="*/ 1704191 h 1704191"/>
              <a:gd name="connsiteX4" fmla="*/ 7840301 w 11108601"/>
              <a:gd name="connsiteY4" fmla="*/ 1441641 h 1704191"/>
              <a:gd name="connsiteX5" fmla="*/ 14470 w 11108601"/>
              <a:gd name="connsiteY5" fmla="*/ 1387320 h 1704191"/>
              <a:gd name="connsiteX6" fmla="*/ 14470 w 11108601"/>
              <a:gd name="connsiteY6" fmla="*/ 1387320 h 1704191"/>
              <a:gd name="connsiteX7" fmla="*/ 14470 w 11108601"/>
              <a:gd name="connsiteY7" fmla="*/ 742386 h 1704191"/>
              <a:gd name="connsiteX0" fmla="*/ 14470 w 11108601"/>
              <a:gd name="connsiteY0" fmla="*/ 742386 h 1468801"/>
              <a:gd name="connsiteX1" fmla="*/ 0 w 11108601"/>
              <a:gd name="connsiteY1" fmla="*/ 0 h 1468801"/>
              <a:gd name="connsiteX2" fmla="*/ 11108601 w 11108601"/>
              <a:gd name="connsiteY2" fmla="*/ 1457609 h 1468801"/>
              <a:gd name="connsiteX3" fmla="*/ 9297908 w 11108601"/>
              <a:gd name="connsiteY3" fmla="*/ 1468801 h 1468801"/>
              <a:gd name="connsiteX4" fmla="*/ 7840301 w 11108601"/>
              <a:gd name="connsiteY4" fmla="*/ 1441641 h 1468801"/>
              <a:gd name="connsiteX5" fmla="*/ 14470 w 11108601"/>
              <a:gd name="connsiteY5" fmla="*/ 1387320 h 1468801"/>
              <a:gd name="connsiteX6" fmla="*/ 14470 w 11108601"/>
              <a:gd name="connsiteY6" fmla="*/ 138732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297908 w 11108601"/>
              <a:gd name="connsiteY3" fmla="*/ 1468801 h 1468801"/>
              <a:gd name="connsiteX4" fmla="*/ 7731659 w 11108601"/>
              <a:gd name="connsiteY4" fmla="*/ 1459748 h 1468801"/>
              <a:gd name="connsiteX5" fmla="*/ 14470 w 11108601"/>
              <a:gd name="connsiteY5" fmla="*/ 1387320 h 1468801"/>
              <a:gd name="connsiteX6" fmla="*/ 14470 w 11108601"/>
              <a:gd name="connsiteY6" fmla="*/ 138732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297908 w 11108601"/>
              <a:gd name="connsiteY3" fmla="*/ 1468801 h 1468801"/>
              <a:gd name="connsiteX4" fmla="*/ 7731659 w 11108601"/>
              <a:gd name="connsiteY4" fmla="*/ 1459748 h 1468801"/>
              <a:gd name="connsiteX5" fmla="*/ 14470 w 11108601"/>
              <a:gd name="connsiteY5" fmla="*/ 1387320 h 1468801"/>
              <a:gd name="connsiteX6" fmla="*/ 14470 w 11108601"/>
              <a:gd name="connsiteY6" fmla="*/ 138732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297908 w 11108601"/>
              <a:gd name="connsiteY3" fmla="*/ 1468801 h 1468801"/>
              <a:gd name="connsiteX4" fmla="*/ 7731659 w 11108601"/>
              <a:gd name="connsiteY4" fmla="*/ 1459748 h 1468801"/>
              <a:gd name="connsiteX5" fmla="*/ 14470 w 11108601"/>
              <a:gd name="connsiteY5" fmla="*/ 1387320 h 1468801"/>
              <a:gd name="connsiteX6" fmla="*/ 14470 w 11108601"/>
              <a:gd name="connsiteY6" fmla="*/ 138732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352228 w 11108601"/>
              <a:gd name="connsiteY3" fmla="*/ 1468801 h 1468801"/>
              <a:gd name="connsiteX4" fmla="*/ 7731659 w 11108601"/>
              <a:gd name="connsiteY4" fmla="*/ 1459748 h 1468801"/>
              <a:gd name="connsiteX5" fmla="*/ 14470 w 11108601"/>
              <a:gd name="connsiteY5" fmla="*/ 1387320 h 1468801"/>
              <a:gd name="connsiteX6" fmla="*/ 14470 w 11108601"/>
              <a:gd name="connsiteY6" fmla="*/ 138732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352228 w 11108601"/>
              <a:gd name="connsiteY3" fmla="*/ 1468801 h 1468801"/>
              <a:gd name="connsiteX4" fmla="*/ 7731659 w 11108601"/>
              <a:gd name="connsiteY4" fmla="*/ 1459748 h 1468801"/>
              <a:gd name="connsiteX5" fmla="*/ 14470 w 11108601"/>
              <a:gd name="connsiteY5" fmla="*/ 1387320 h 1468801"/>
              <a:gd name="connsiteX6" fmla="*/ 23523 w 11108601"/>
              <a:gd name="connsiteY6" fmla="*/ 141448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352228 w 11108601"/>
              <a:gd name="connsiteY3" fmla="*/ 1468801 h 1468801"/>
              <a:gd name="connsiteX4" fmla="*/ 7776926 w 11108601"/>
              <a:gd name="connsiteY4" fmla="*/ 1432588 h 1468801"/>
              <a:gd name="connsiteX5" fmla="*/ 14470 w 11108601"/>
              <a:gd name="connsiteY5" fmla="*/ 1387320 h 1468801"/>
              <a:gd name="connsiteX6" fmla="*/ 23523 w 11108601"/>
              <a:gd name="connsiteY6" fmla="*/ 1414480 h 1468801"/>
              <a:gd name="connsiteX7" fmla="*/ 14470 w 11108601"/>
              <a:gd name="connsiteY7" fmla="*/ 742386 h 1468801"/>
              <a:gd name="connsiteX0" fmla="*/ 14470 w 11108601"/>
              <a:gd name="connsiteY0" fmla="*/ 742386 h 1457609"/>
              <a:gd name="connsiteX1" fmla="*/ 0 w 11108601"/>
              <a:gd name="connsiteY1" fmla="*/ 0 h 1457609"/>
              <a:gd name="connsiteX2" fmla="*/ 11108601 w 11108601"/>
              <a:gd name="connsiteY2" fmla="*/ 1457609 h 1457609"/>
              <a:gd name="connsiteX3" fmla="*/ 9415603 w 11108601"/>
              <a:gd name="connsiteY3" fmla="*/ 1441641 h 1457609"/>
              <a:gd name="connsiteX4" fmla="*/ 7776926 w 11108601"/>
              <a:gd name="connsiteY4" fmla="*/ 1432588 h 1457609"/>
              <a:gd name="connsiteX5" fmla="*/ 14470 w 11108601"/>
              <a:gd name="connsiteY5" fmla="*/ 1387320 h 1457609"/>
              <a:gd name="connsiteX6" fmla="*/ 23523 w 11108601"/>
              <a:gd name="connsiteY6" fmla="*/ 1414480 h 1457609"/>
              <a:gd name="connsiteX7" fmla="*/ 14470 w 11108601"/>
              <a:gd name="connsiteY7" fmla="*/ 742386 h 1457609"/>
              <a:gd name="connsiteX0" fmla="*/ 14470 w 11144815"/>
              <a:gd name="connsiteY0" fmla="*/ 742386 h 1457609"/>
              <a:gd name="connsiteX1" fmla="*/ 0 w 11144815"/>
              <a:gd name="connsiteY1" fmla="*/ 0 h 1457609"/>
              <a:gd name="connsiteX2" fmla="*/ 11144815 w 11144815"/>
              <a:gd name="connsiteY2" fmla="*/ 1457609 h 1457609"/>
              <a:gd name="connsiteX3" fmla="*/ 9415603 w 11144815"/>
              <a:gd name="connsiteY3" fmla="*/ 1441641 h 1457609"/>
              <a:gd name="connsiteX4" fmla="*/ 7776926 w 11144815"/>
              <a:gd name="connsiteY4" fmla="*/ 1432588 h 1457609"/>
              <a:gd name="connsiteX5" fmla="*/ 14470 w 11144815"/>
              <a:gd name="connsiteY5" fmla="*/ 1387320 h 1457609"/>
              <a:gd name="connsiteX6" fmla="*/ 23523 w 11144815"/>
              <a:gd name="connsiteY6" fmla="*/ 1414480 h 1457609"/>
              <a:gd name="connsiteX7" fmla="*/ 14470 w 11144815"/>
              <a:gd name="connsiteY7" fmla="*/ 742386 h 1457609"/>
              <a:gd name="connsiteX0" fmla="*/ 14470 w 11144815"/>
              <a:gd name="connsiteY0" fmla="*/ 742386 h 1457609"/>
              <a:gd name="connsiteX1" fmla="*/ 0 w 11144815"/>
              <a:gd name="connsiteY1" fmla="*/ 0 h 1457609"/>
              <a:gd name="connsiteX2" fmla="*/ 11144815 w 11144815"/>
              <a:gd name="connsiteY2" fmla="*/ 1457609 h 1457609"/>
              <a:gd name="connsiteX3" fmla="*/ 9415603 w 11144815"/>
              <a:gd name="connsiteY3" fmla="*/ 1441641 h 1457609"/>
              <a:gd name="connsiteX4" fmla="*/ 7776926 w 11144815"/>
              <a:gd name="connsiteY4" fmla="*/ 1432588 h 1457609"/>
              <a:gd name="connsiteX5" fmla="*/ 14470 w 11144815"/>
              <a:gd name="connsiteY5" fmla="*/ 1387320 h 1457609"/>
              <a:gd name="connsiteX6" fmla="*/ 14470 w 11144815"/>
              <a:gd name="connsiteY6" fmla="*/ 1106662 h 1457609"/>
              <a:gd name="connsiteX7" fmla="*/ 14470 w 11144815"/>
              <a:gd name="connsiteY7" fmla="*/ 742386 h 1457609"/>
              <a:gd name="connsiteX0" fmla="*/ 14470 w 11144815"/>
              <a:gd name="connsiteY0" fmla="*/ 742386 h 1457609"/>
              <a:gd name="connsiteX1" fmla="*/ 0 w 11144815"/>
              <a:gd name="connsiteY1" fmla="*/ 0 h 1457609"/>
              <a:gd name="connsiteX2" fmla="*/ 11144815 w 11144815"/>
              <a:gd name="connsiteY2" fmla="*/ 1457609 h 1457609"/>
              <a:gd name="connsiteX3" fmla="*/ 9415603 w 11144815"/>
              <a:gd name="connsiteY3" fmla="*/ 1441641 h 1457609"/>
              <a:gd name="connsiteX4" fmla="*/ 7776926 w 11144815"/>
              <a:gd name="connsiteY4" fmla="*/ 1432588 h 1457609"/>
              <a:gd name="connsiteX5" fmla="*/ 5417 w 11144815"/>
              <a:gd name="connsiteY5" fmla="*/ 1396374 h 1457609"/>
              <a:gd name="connsiteX6" fmla="*/ 14470 w 11144815"/>
              <a:gd name="connsiteY6" fmla="*/ 1106662 h 1457609"/>
              <a:gd name="connsiteX7" fmla="*/ 14470 w 11144815"/>
              <a:gd name="connsiteY7" fmla="*/ 742386 h 1457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4815" h="1457609">
                <a:moveTo>
                  <a:pt x="14470" y="742386"/>
                </a:moveTo>
                <a:lnTo>
                  <a:pt x="0" y="0"/>
                </a:lnTo>
                <a:lnTo>
                  <a:pt x="11144815" y="1457609"/>
                </a:lnTo>
                <a:lnTo>
                  <a:pt x="9415603" y="1441641"/>
                </a:lnTo>
                <a:lnTo>
                  <a:pt x="7776926" y="1432588"/>
                </a:lnTo>
                <a:cubicBezTo>
                  <a:pt x="7703286" y="1435606"/>
                  <a:pt x="2577813" y="1420517"/>
                  <a:pt x="5417" y="1396374"/>
                </a:cubicBezTo>
                <a:lnTo>
                  <a:pt x="14470" y="1106662"/>
                </a:lnTo>
                <a:lnTo>
                  <a:pt x="14470" y="742386"/>
                </a:lnTo>
                <a:close/>
              </a:path>
            </a:pathLst>
          </a:custGeom>
          <a:solidFill>
            <a:schemeClr val="accent2">
              <a:alpha val="50000"/>
            </a:schemeClr>
          </a:solidFill>
        </p:spPr>
        <p:txBody>
          <a:bodyPr lIns="180000" tIns="180000" rIns="180000" bIns="180000"/>
          <a:lstStyle>
            <a:lvl1pPr marL="0" indent="0">
              <a:buNone/>
              <a:defRPr/>
            </a:lvl1pPr>
          </a:lstStyle>
          <a:p>
            <a:r>
              <a:rPr lang="de-DE"/>
              <a:t> </a:t>
            </a:r>
          </a:p>
        </p:txBody>
      </p:sp>
    </p:spTree>
    <p:extLst>
      <p:ext uri="{BB962C8B-B14F-4D97-AF65-F5344CB8AC3E}">
        <p14:creationId xmlns:p14="http://schemas.microsoft.com/office/powerpoint/2010/main" val="4708902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x Content mit Logo">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840E26E4-3E52-4AC6-AC79-48653D3EC6CF}"/>
              </a:ext>
            </a:extLst>
          </p:cNvPr>
          <p:cNvSpPr/>
          <p:nvPr userDrawn="1"/>
        </p:nvSpPr>
        <p:spPr>
          <a:xfrm>
            <a:off x="12747713" y="627871"/>
            <a:ext cx="5077286" cy="5060609"/>
          </a:xfrm>
          <a:custGeom>
            <a:avLst/>
            <a:gdLst/>
            <a:ahLst/>
            <a:cxnLst/>
            <a:rect l="0" t="0" r="0" b="0"/>
            <a:pathLst>
              <a:path w="421073" h="419691">
                <a:moveTo>
                  <a:pt x="75122" y="10338"/>
                </a:moveTo>
                <a:lnTo>
                  <a:pt x="279124" y="10338"/>
                </a:lnTo>
                <a:lnTo>
                  <a:pt x="342530" y="73744"/>
                </a:lnTo>
                <a:lnTo>
                  <a:pt x="10338" y="73744"/>
                </a:lnTo>
                <a:lnTo>
                  <a:pt x="75122" y="10338"/>
                </a:lnTo>
                <a:close/>
                <a:moveTo>
                  <a:pt x="411450" y="142663"/>
                </a:moveTo>
                <a:lnTo>
                  <a:pt x="411450" y="346664"/>
                </a:lnTo>
                <a:lnTo>
                  <a:pt x="346665" y="410070"/>
                </a:lnTo>
                <a:lnTo>
                  <a:pt x="346665" y="77879"/>
                </a:lnTo>
                <a:lnTo>
                  <a:pt x="411450" y="142663"/>
                </a:lnTo>
                <a:close/>
                <a:moveTo>
                  <a:pt x="68230" y="83392"/>
                </a:moveTo>
                <a:lnTo>
                  <a:pt x="219853" y="83392"/>
                </a:lnTo>
                <a:lnTo>
                  <a:pt x="276367" y="139906"/>
                </a:lnTo>
                <a:lnTo>
                  <a:pt x="11716" y="139906"/>
                </a:lnTo>
                <a:lnTo>
                  <a:pt x="68230" y="83392"/>
                </a:lnTo>
                <a:close/>
                <a:moveTo>
                  <a:pt x="338395" y="201934"/>
                </a:moveTo>
                <a:lnTo>
                  <a:pt x="338395" y="353556"/>
                </a:lnTo>
                <a:lnTo>
                  <a:pt x="280503" y="410070"/>
                </a:lnTo>
                <a:lnTo>
                  <a:pt x="280503" y="144041"/>
                </a:lnTo>
                <a:lnTo>
                  <a:pt x="338395" y="201934"/>
                </a:lnTo>
                <a:close/>
                <a:moveTo>
                  <a:pt x="62717" y="149555"/>
                </a:moveTo>
                <a:lnTo>
                  <a:pt x="164718" y="149555"/>
                </a:lnTo>
                <a:lnTo>
                  <a:pt x="215718" y="200555"/>
                </a:lnTo>
                <a:lnTo>
                  <a:pt x="11716" y="200555"/>
                </a:lnTo>
                <a:lnTo>
                  <a:pt x="62717" y="149555"/>
                </a:lnTo>
                <a:close/>
                <a:moveTo>
                  <a:pt x="270854" y="254312"/>
                </a:moveTo>
                <a:lnTo>
                  <a:pt x="270854" y="357691"/>
                </a:lnTo>
                <a:lnTo>
                  <a:pt x="219853" y="410070"/>
                </a:lnTo>
                <a:lnTo>
                  <a:pt x="219853" y="203312"/>
                </a:lnTo>
                <a:lnTo>
                  <a:pt x="270854" y="254312"/>
                </a:lnTo>
                <a:close/>
                <a:moveTo>
                  <a:pt x="50311" y="210204"/>
                </a:moveTo>
                <a:lnTo>
                  <a:pt x="130258" y="210204"/>
                </a:lnTo>
                <a:lnTo>
                  <a:pt x="168853" y="248799"/>
                </a:lnTo>
                <a:lnTo>
                  <a:pt x="11716" y="248799"/>
                </a:lnTo>
                <a:lnTo>
                  <a:pt x="50311" y="210204"/>
                </a:lnTo>
                <a:close/>
                <a:moveTo>
                  <a:pt x="51690" y="259826"/>
                </a:moveTo>
                <a:lnTo>
                  <a:pt x="123366" y="259826"/>
                </a:lnTo>
                <a:lnTo>
                  <a:pt x="161961" y="299799"/>
                </a:lnTo>
                <a:lnTo>
                  <a:pt x="161961" y="371475"/>
                </a:lnTo>
                <a:lnTo>
                  <a:pt x="121988" y="410070"/>
                </a:lnTo>
                <a:lnTo>
                  <a:pt x="50311" y="410070"/>
                </a:lnTo>
                <a:lnTo>
                  <a:pt x="11716" y="371475"/>
                </a:lnTo>
                <a:lnTo>
                  <a:pt x="11716" y="299799"/>
                </a:lnTo>
                <a:lnTo>
                  <a:pt x="51690" y="259826"/>
                </a:lnTo>
                <a:lnTo>
                  <a:pt x="51690" y="259826"/>
                </a:lnTo>
                <a:close/>
                <a:moveTo>
                  <a:pt x="121988" y="299799"/>
                </a:moveTo>
                <a:lnTo>
                  <a:pt x="50311" y="299799"/>
                </a:lnTo>
                <a:lnTo>
                  <a:pt x="50311" y="371475"/>
                </a:lnTo>
                <a:lnTo>
                  <a:pt x="121988" y="371475"/>
                </a:lnTo>
                <a:lnTo>
                  <a:pt x="121988" y="299799"/>
                </a:lnTo>
                <a:close/>
                <a:moveTo>
                  <a:pt x="210205" y="291529"/>
                </a:moveTo>
                <a:lnTo>
                  <a:pt x="210205" y="371475"/>
                </a:lnTo>
                <a:lnTo>
                  <a:pt x="171610" y="410070"/>
                </a:lnTo>
                <a:lnTo>
                  <a:pt x="171610" y="251555"/>
                </a:lnTo>
                <a:lnTo>
                  <a:pt x="210205" y="291529"/>
                </a:lnTo>
              </a:path>
            </a:pathLst>
          </a:custGeom>
          <a:solidFill>
            <a:schemeClr val="bg2">
              <a:lumMod val="95000"/>
              <a:alpha val="58000"/>
            </a:schemeClr>
          </a:solidFill>
          <a:ln w="95100" cap="flat">
            <a:noFill/>
            <a:prstDash val="solid"/>
            <a:miter/>
          </a:ln>
        </p:spPr>
        <p:txBody>
          <a:bodyPr/>
          <a:lstStyle/>
          <a:p>
            <a:endParaRPr lang="de-DE">
              <a:latin typeface="Source Sans Pro" panose="020B0503030403020204" pitchFamily="34" charset="0"/>
            </a:endParaRPr>
          </a:p>
        </p:txBody>
      </p:sp>
      <p:sp>
        <p:nvSpPr>
          <p:cNvPr id="3" name="Inhalt"/>
          <p:cNvSpPr>
            <a:spLocks noGrp="1"/>
          </p:cNvSpPr>
          <p:nvPr>
            <p:ph sz="half" idx="1"/>
          </p:nvPr>
        </p:nvSpPr>
        <p:spPr bwMode="gray">
          <a:xfrm>
            <a:off x="539999" y="1512000"/>
            <a:ext cx="5338800" cy="4298400"/>
          </a:xfrm>
        </p:spPr>
        <p:txBody>
          <a:bodyPr/>
          <a:lstStyle>
            <a:lvl1pPr marL="270000" indent="-270000">
              <a:buClr>
                <a:srgbClr val="2FAE7A"/>
              </a:buClr>
              <a:buFont typeface="Source Sans Pro Black" panose="020B0803030403020204" pitchFamily="34" charset="0"/>
              <a:buChar char="‒"/>
              <a:defRPr sz="1600">
                <a:solidFill>
                  <a:schemeClr val="tx2">
                    <a:lumMod val="75000"/>
                  </a:schemeClr>
                </a:solidFill>
              </a:defRPr>
            </a:lvl1pPr>
            <a:lvl2pPr>
              <a:defRPr sz="1400">
                <a:solidFill>
                  <a:schemeClr val="tx2">
                    <a:lumMod val="75000"/>
                  </a:schemeClr>
                </a:solidFill>
              </a:defRPr>
            </a:lvl2pPr>
            <a:lvl3pPr>
              <a:defRPr sz="1200">
                <a:solidFill>
                  <a:schemeClr val="tx2">
                    <a:lumMod val="75000"/>
                  </a:schemeClr>
                </a:solidFill>
              </a:defRPr>
            </a:lvl3pPr>
            <a:lvl4pPr>
              <a:defRPr sz="1050">
                <a:solidFill>
                  <a:schemeClr val="tx2">
                    <a:lumMod val="75000"/>
                  </a:schemeClr>
                </a:solidFill>
              </a:defRPr>
            </a:lvl4pPr>
            <a:lvl5pPr>
              <a:defRPr sz="900">
                <a:solidFill>
                  <a:schemeClr val="tx2">
                    <a:lumMod val="75000"/>
                  </a:schemeClr>
                </a:solidFill>
              </a:defRPr>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Inhalt">
            <a:extLst>
              <a:ext uri="{FF2B5EF4-FFF2-40B4-BE49-F238E27FC236}">
                <a16:creationId xmlns:a16="http://schemas.microsoft.com/office/drawing/2014/main" id="{89383FBC-BC76-42C2-94BC-D4778FF5BD20}"/>
              </a:ext>
            </a:extLst>
          </p:cNvPr>
          <p:cNvSpPr>
            <a:spLocks noGrp="1"/>
          </p:cNvSpPr>
          <p:nvPr>
            <p:ph sz="half" idx="14"/>
          </p:nvPr>
        </p:nvSpPr>
        <p:spPr bwMode="gray">
          <a:xfrm>
            <a:off x="6310800" y="1512000"/>
            <a:ext cx="5338800" cy="4298400"/>
          </a:xfrm>
        </p:spPr>
        <p:txBody>
          <a:bodyPr/>
          <a:lstStyle>
            <a:lvl1pPr marL="285750" indent="-285750">
              <a:buClr>
                <a:srgbClr val="2FAE7A"/>
              </a:buClr>
              <a:buFont typeface="Source Sans Pro Black" panose="020B0803030403020204" pitchFamily="34" charset="0"/>
              <a:buChar char="‒"/>
              <a:defRPr sz="1600"/>
            </a:lvl1pPr>
            <a:lvl2pPr>
              <a:defRPr sz="1400"/>
            </a:lvl2pPr>
            <a:lvl3pPr>
              <a:defRPr sz="1200"/>
            </a:lvl3pPr>
            <a:lvl4pPr>
              <a:defRPr sz="1050"/>
            </a:lvl4pPr>
            <a:lvl5pPr>
              <a:defRPr sz="900"/>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Titel 3">
            <a:extLst>
              <a:ext uri="{FF2B5EF4-FFF2-40B4-BE49-F238E27FC236}">
                <a16:creationId xmlns:a16="http://schemas.microsoft.com/office/drawing/2014/main" id="{06F20923-607A-41CF-B9F5-D6EB030EB53C}"/>
              </a:ext>
            </a:extLst>
          </p:cNvPr>
          <p:cNvSpPr>
            <a:spLocks noGrp="1"/>
          </p:cNvSpPr>
          <p:nvPr>
            <p:ph type="title" hasCustomPrompt="1"/>
          </p:nvPr>
        </p:nvSpPr>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15"/>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16"/>
          </p:nvPr>
        </p:nvSpPr>
        <p:spPr/>
        <p:txBody>
          <a:bodyPr/>
          <a:lstStyle/>
          <a:p>
            <a:r>
              <a:rPr lang="de-DE" noProof="0"/>
              <a:t>FZI Forschungszentrum Informatik</a:t>
            </a:r>
          </a:p>
        </p:txBody>
      </p:sp>
      <p:sp>
        <p:nvSpPr>
          <p:cNvPr id="11" name="Foliennummernplatzhalter 10"/>
          <p:cNvSpPr>
            <a:spLocks noGrp="1"/>
          </p:cNvSpPr>
          <p:nvPr>
            <p:ph type="sldNum" sz="quarter" idx="17"/>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8435909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Nur Headline">
    <p:spTree>
      <p:nvGrpSpPr>
        <p:cNvPr id="1" name=""/>
        <p:cNvGrpSpPr/>
        <p:nvPr/>
      </p:nvGrpSpPr>
      <p:grpSpPr>
        <a:xfrm>
          <a:off x="0" y="0"/>
          <a:ext cx="0" cy="0"/>
          <a:chOff x="0" y="0"/>
          <a:chExt cx="0" cy="0"/>
        </a:xfrm>
      </p:grpSpPr>
      <p:sp>
        <p:nvSpPr>
          <p:cNvPr id="9" name="Datumsplatzhalter 8"/>
          <p:cNvSpPr>
            <a:spLocks noGrp="1"/>
          </p:cNvSpPr>
          <p:nvPr>
            <p:ph type="dt" sz="half" idx="10"/>
          </p:nvPr>
        </p:nvSpPr>
        <p:spPr/>
        <p:txBody>
          <a:bodyPr/>
          <a:lstStyle>
            <a:lvl1pPr>
              <a:defRPr>
                <a:solidFill>
                  <a:srgbClr val="7F7F7F"/>
                </a:solidFill>
              </a:defRPr>
            </a:lvl1pPr>
          </a:lstStyle>
          <a:p>
            <a:fld id="{DB9B2620-33D4-4363-9058-B46602A3CF96}" type="datetime1">
              <a:rPr lang="de-DE" smtClean="0"/>
              <a:pPr/>
              <a:t>15.01.2025</a:t>
            </a:fld>
            <a:endParaRPr lang="de-DE"/>
          </a:p>
        </p:txBody>
      </p:sp>
      <p:sp>
        <p:nvSpPr>
          <p:cNvPr id="10" name="Fußzeilenplatzhalter 9"/>
          <p:cNvSpPr>
            <a:spLocks noGrp="1"/>
          </p:cNvSpPr>
          <p:nvPr>
            <p:ph type="ftr" sz="quarter" idx="11"/>
          </p:nvPr>
        </p:nvSpPr>
        <p:spPr/>
        <p:txBody>
          <a:bodyPr/>
          <a:lstStyle/>
          <a:p>
            <a:r>
              <a:rPr lang="de-DE" noProof="0"/>
              <a:t>FZI Forschungsthemen 2022</a:t>
            </a:r>
          </a:p>
        </p:txBody>
      </p:sp>
      <p:sp>
        <p:nvSpPr>
          <p:cNvPr id="11" name="Foliennummernplatzhalter 10"/>
          <p:cNvSpPr>
            <a:spLocks noGrp="1"/>
          </p:cNvSpPr>
          <p:nvPr>
            <p:ph type="sldNum" sz="quarter" idx="12"/>
          </p:nvPr>
        </p:nvSpPr>
        <p:spPr/>
        <p:txBody>
          <a:bodyPr/>
          <a:lstStyle/>
          <a:p>
            <a:fld id="{02CEFE82-39F2-4F47-8A0C-D5AB3496FA5C}" type="slidenum">
              <a:rPr lang="de-DE" noProof="0" smtClean="0"/>
              <a:pPr/>
              <a:t>‹#›</a:t>
            </a:fld>
            <a:endParaRPr lang="de-DE" noProof="0"/>
          </a:p>
        </p:txBody>
      </p:sp>
      <p:sp>
        <p:nvSpPr>
          <p:cNvPr id="6" name="Titel 2">
            <a:extLst>
              <a:ext uri="{FF2B5EF4-FFF2-40B4-BE49-F238E27FC236}">
                <a16:creationId xmlns:a16="http://schemas.microsoft.com/office/drawing/2014/main" id="{5D7A489B-02B9-4503-A940-ADBDC68BD7BD}"/>
              </a:ext>
            </a:extLst>
          </p:cNvPr>
          <p:cNvSpPr>
            <a:spLocks noGrp="1"/>
          </p:cNvSpPr>
          <p:nvPr>
            <p:ph type="title" hasCustomPrompt="1"/>
          </p:nvPr>
        </p:nvSpPr>
        <p:spPr>
          <a:xfrm>
            <a:off x="540000" y="432000"/>
            <a:ext cx="10232222" cy="539685"/>
          </a:xfrm>
        </p:spPr>
        <p:txBody>
          <a:bodyPr/>
          <a:lstStyle>
            <a:lvl1pPr marL="0" indent="0">
              <a:buClr>
                <a:srgbClr val="0E2356"/>
              </a:buClr>
              <a:buSzPct val="110000"/>
              <a:buFont typeface="Source Sans Pro SemiBold" panose="020B0603030403020204" pitchFamily="34" charset="0"/>
              <a:buNone/>
              <a:defRPr b="1">
                <a:solidFill>
                  <a:srgbClr val="0E2356"/>
                </a:solidFill>
              </a:defRPr>
            </a:lvl1pPr>
          </a:lstStyle>
          <a:p>
            <a:r>
              <a:rPr lang="de-DE"/>
              <a:t>Titelmasterformat bearbeiten</a:t>
            </a:r>
          </a:p>
        </p:txBody>
      </p:sp>
      <p:sp>
        <p:nvSpPr>
          <p:cNvPr id="8" name="Textplatzhalter 3">
            <a:extLst>
              <a:ext uri="{FF2B5EF4-FFF2-40B4-BE49-F238E27FC236}">
                <a16:creationId xmlns:a16="http://schemas.microsoft.com/office/drawing/2014/main" id="{E5099914-7874-4637-AE82-C43268E2E775}"/>
              </a:ext>
            </a:extLst>
          </p:cNvPr>
          <p:cNvSpPr>
            <a:spLocks noGrp="1"/>
          </p:cNvSpPr>
          <p:nvPr>
            <p:ph type="body" sz="quarter" idx="28" hasCustomPrompt="1"/>
          </p:nvPr>
        </p:nvSpPr>
        <p:spPr>
          <a:xfrm>
            <a:off x="539751" y="971685"/>
            <a:ext cx="10232472" cy="528638"/>
          </a:xfrm>
        </p:spPr>
        <p:txBody>
          <a:bodyPr/>
          <a:lstStyle>
            <a:lvl1pPr marL="0" indent="0">
              <a:buNone/>
              <a:defRPr sz="2000">
                <a:solidFill>
                  <a:srgbClr val="2FAE7A"/>
                </a:solidFill>
              </a:defRPr>
            </a:lvl1pPr>
          </a:lstStyle>
          <a:p>
            <a:pPr lvl="0"/>
            <a:r>
              <a:rPr lang="de-DE"/>
              <a:t>Das ist eine optionale </a:t>
            </a:r>
            <a:r>
              <a:rPr lang="de-DE" err="1"/>
              <a:t>Subline</a:t>
            </a:r>
            <a:r>
              <a:rPr lang="de-DE"/>
              <a:t>. Bei Nichtnutzung einfach löschen. </a:t>
            </a:r>
          </a:p>
        </p:txBody>
      </p:sp>
      <p:sp>
        <p:nvSpPr>
          <p:cNvPr id="16" name="Bildplatzhalter 2"/>
          <p:cNvSpPr>
            <a:spLocks noGrp="1"/>
          </p:cNvSpPr>
          <p:nvPr>
            <p:ph type="pic" sz="quarter" idx="32" hasCustomPrompt="1"/>
          </p:nvPr>
        </p:nvSpPr>
        <p:spPr bwMode="gray">
          <a:xfrm>
            <a:off x="-997100" y="1500323"/>
            <a:ext cx="3657920" cy="4258513"/>
          </a:xfrm>
          <a:custGeom>
            <a:avLst/>
            <a:gdLst>
              <a:gd name="connsiteX0" fmla="*/ 0 w 7043672"/>
              <a:gd name="connsiteY0" fmla="*/ 6919334 h 6919334"/>
              <a:gd name="connsiteX1" fmla="*/ 1729834 w 7043672"/>
              <a:gd name="connsiteY1" fmla="*/ 0 h 6919334"/>
              <a:gd name="connsiteX2" fmla="*/ 7043672 w 7043672"/>
              <a:gd name="connsiteY2" fmla="*/ 0 h 6919334"/>
              <a:gd name="connsiteX3" fmla="*/ 5313839 w 7043672"/>
              <a:gd name="connsiteY3" fmla="*/ 6919334 h 6919334"/>
              <a:gd name="connsiteX4" fmla="*/ 0 w 7043672"/>
              <a:gd name="connsiteY4" fmla="*/ 6919334 h 6919334"/>
              <a:gd name="connsiteX0" fmla="*/ 0 w 7043672"/>
              <a:gd name="connsiteY0" fmla="*/ 6919334 h 6919334"/>
              <a:gd name="connsiteX1" fmla="*/ 3187931 w 7043672"/>
              <a:gd name="connsiteY1" fmla="*/ 1746422 h 6919334"/>
              <a:gd name="connsiteX2" fmla="*/ 7043672 w 7043672"/>
              <a:gd name="connsiteY2" fmla="*/ 0 h 6919334"/>
              <a:gd name="connsiteX3" fmla="*/ 5313839 w 7043672"/>
              <a:gd name="connsiteY3" fmla="*/ 6919334 h 6919334"/>
              <a:gd name="connsiteX4" fmla="*/ 0 w 7043672"/>
              <a:gd name="connsiteY4" fmla="*/ 6919334 h 6919334"/>
              <a:gd name="connsiteX0" fmla="*/ 0 w 6953055"/>
              <a:gd name="connsiteY0" fmla="*/ 5543615 h 5543615"/>
              <a:gd name="connsiteX1" fmla="*/ 3187931 w 6953055"/>
              <a:gd name="connsiteY1" fmla="*/ 370703 h 5543615"/>
              <a:gd name="connsiteX2" fmla="*/ 6953055 w 6953055"/>
              <a:gd name="connsiteY2" fmla="*/ 0 h 5543615"/>
              <a:gd name="connsiteX3" fmla="*/ 5313839 w 6953055"/>
              <a:gd name="connsiteY3" fmla="*/ 5543615 h 5543615"/>
              <a:gd name="connsiteX4" fmla="*/ 0 w 6953055"/>
              <a:gd name="connsiteY4" fmla="*/ 5543615 h 5543615"/>
              <a:gd name="connsiteX0" fmla="*/ 0 w 6953055"/>
              <a:gd name="connsiteY0" fmla="*/ 5543615 h 5543615"/>
              <a:gd name="connsiteX1" fmla="*/ 4860212 w 6953055"/>
              <a:gd name="connsiteY1" fmla="*/ 8238 h 5543615"/>
              <a:gd name="connsiteX2" fmla="*/ 6953055 w 6953055"/>
              <a:gd name="connsiteY2" fmla="*/ 0 h 5543615"/>
              <a:gd name="connsiteX3" fmla="*/ 5313839 w 6953055"/>
              <a:gd name="connsiteY3" fmla="*/ 5543615 h 5543615"/>
              <a:gd name="connsiteX4" fmla="*/ 0 w 6953055"/>
              <a:gd name="connsiteY4" fmla="*/ 5543615 h 5543615"/>
              <a:gd name="connsiteX0" fmla="*/ 0 w 2784709"/>
              <a:gd name="connsiteY0" fmla="*/ 4703355 h 5543615"/>
              <a:gd name="connsiteX1" fmla="*/ 691866 w 2784709"/>
              <a:gd name="connsiteY1" fmla="*/ 8238 h 5543615"/>
              <a:gd name="connsiteX2" fmla="*/ 2784709 w 2784709"/>
              <a:gd name="connsiteY2" fmla="*/ 0 h 5543615"/>
              <a:gd name="connsiteX3" fmla="*/ 1145493 w 2784709"/>
              <a:gd name="connsiteY3" fmla="*/ 5543615 h 5543615"/>
              <a:gd name="connsiteX4" fmla="*/ 0 w 2784709"/>
              <a:gd name="connsiteY4" fmla="*/ 4703355 h 5543615"/>
              <a:gd name="connsiteX0" fmla="*/ 0 w 3657920"/>
              <a:gd name="connsiteY0" fmla="*/ 4250274 h 5543615"/>
              <a:gd name="connsiteX1" fmla="*/ 1565077 w 3657920"/>
              <a:gd name="connsiteY1" fmla="*/ 8238 h 5543615"/>
              <a:gd name="connsiteX2" fmla="*/ 3657920 w 3657920"/>
              <a:gd name="connsiteY2" fmla="*/ 0 h 5543615"/>
              <a:gd name="connsiteX3" fmla="*/ 2018704 w 3657920"/>
              <a:gd name="connsiteY3" fmla="*/ 5543615 h 5543615"/>
              <a:gd name="connsiteX4" fmla="*/ 0 w 3657920"/>
              <a:gd name="connsiteY4" fmla="*/ 4250274 h 5543615"/>
              <a:gd name="connsiteX0" fmla="*/ 0 w 3657920"/>
              <a:gd name="connsiteY0" fmla="*/ 4250274 h 4250274"/>
              <a:gd name="connsiteX1" fmla="*/ 1565077 w 3657920"/>
              <a:gd name="connsiteY1" fmla="*/ 8238 h 4250274"/>
              <a:gd name="connsiteX2" fmla="*/ 3657920 w 3657920"/>
              <a:gd name="connsiteY2" fmla="*/ 0 h 4250274"/>
              <a:gd name="connsiteX3" fmla="*/ 2241126 w 3657920"/>
              <a:gd name="connsiteY3" fmla="*/ 3780718 h 4250274"/>
              <a:gd name="connsiteX4" fmla="*/ 0 w 3657920"/>
              <a:gd name="connsiteY4" fmla="*/ 4250274 h 4250274"/>
              <a:gd name="connsiteX0" fmla="*/ 0 w 3657920"/>
              <a:gd name="connsiteY0" fmla="*/ 4250274 h 4258513"/>
              <a:gd name="connsiteX1" fmla="*/ 1565077 w 3657920"/>
              <a:gd name="connsiteY1" fmla="*/ 8238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0274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8512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8512 h 425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920" h="4258513">
                <a:moveTo>
                  <a:pt x="0" y="4258512"/>
                </a:moveTo>
                <a:lnTo>
                  <a:pt x="1540364" y="1"/>
                </a:lnTo>
                <a:lnTo>
                  <a:pt x="3657920" y="0"/>
                </a:lnTo>
                <a:lnTo>
                  <a:pt x="2117558" y="4258513"/>
                </a:lnTo>
                <a:lnTo>
                  <a:pt x="0" y="4258512"/>
                </a:lnTo>
                <a:close/>
              </a:path>
            </a:pathLst>
          </a:custGeom>
          <a:solidFill>
            <a:schemeClr val="bg1">
              <a:lumMod val="85000"/>
            </a:schemeClr>
          </a:solidFill>
        </p:spPr>
        <p:txBody>
          <a:bodyPr/>
          <a:lstStyle>
            <a:lvl1pPr marL="0" indent="0">
              <a:buNone/>
              <a:defRPr>
                <a:solidFill>
                  <a:schemeClr val="bg1">
                    <a:lumMod val="85000"/>
                  </a:schemeClr>
                </a:solidFill>
              </a:defRPr>
            </a:lvl1pPr>
          </a:lstStyle>
          <a:p>
            <a:r>
              <a:rPr lang="de-DE"/>
              <a:t> </a:t>
            </a:r>
          </a:p>
        </p:txBody>
      </p:sp>
      <p:sp>
        <p:nvSpPr>
          <p:cNvPr id="38" name="Bildplatzhalter 2"/>
          <p:cNvSpPr>
            <a:spLocks noGrp="1"/>
          </p:cNvSpPr>
          <p:nvPr>
            <p:ph type="pic" sz="quarter" idx="51" hasCustomPrompt="1"/>
          </p:nvPr>
        </p:nvSpPr>
        <p:spPr bwMode="gray">
          <a:xfrm>
            <a:off x="776532" y="1499783"/>
            <a:ext cx="1887146" cy="4258026"/>
          </a:xfrm>
          <a:custGeom>
            <a:avLst/>
            <a:gdLst>
              <a:gd name="connsiteX0" fmla="*/ 0 w 7043672"/>
              <a:gd name="connsiteY0" fmla="*/ 6919334 h 6919334"/>
              <a:gd name="connsiteX1" fmla="*/ 1729834 w 7043672"/>
              <a:gd name="connsiteY1" fmla="*/ 0 h 6919334"/>
              <a:gd name="connsiteX2" fmla="*/ 7043672 w 7043672"/>
              <a:gd name="connsiteY2" fmla="*/ 0 h 6919334"/>
              <a:gd name="connsiteX3" fmla="*/ 5313839 w 7043672"/>
              <a:gd name="connsiteY3" fmla="*/ 6919334 h 6919334"/>
              <a:gd name="connsiteX4" fmla="*/ 0 w 7043672"/>
              <a:gd name="connsiteY4" fmla="*/ 6919334 h 6919334"/>
              <a:gd name="connsiteX0" fmla="*/ 0 w 7043672"/>
              <a:gd name="connsiteY0" fmla="*/ 6919334 h 6919334"/>
              <a:gd name="connsiteX1" fmla="*/ 3187931 w 7043672"/>
              <a:gd name="connsiteY1" fmla="*/ 1746422 h 6919334"/>
              <a:gd name="connsiteX2" fmla="*/ 7043672 w 7043672"/>
              <a:gd name="connsiteY2" fmla="*/ 0 h 6919334"/>
              <a:gd name="connsiteX3" fmla="*/ 5313839 w 7043672"/>
              <a:gd name="connsiteY3" fmla="*/ 6919334 h 6919334"/>
              <a:gd name="connsiteX4" fmla="*/ 0 w 7043672"/>
              <a:gd name="connsiteY4" fmla="*/ 6919334 h 6919334"/>
              <a:gd name="connsiteX0" fmla="*/ 0 w 6953055"/>
              <a:gd name="connsiteY0" fmla="*/ 5543615 h 5543615"/>
              <a:gd name="connsiteX1" fmla="*/ 3187931 w 6953055"/>
              <a:gd name="connsiteY1" fmla="*/ 370703 h 5543615"/>
              <a:gd name="connsiteX2" fmla="*/ 6953055 w 6953055"/>
              <a:gd name="connsiteY2" fmla="*/ 0 h 5543615"/>
              <a:gd name="connsiteX3" fmla="*/ 5313839 w 6953055"/>
              <a:gd name="connsiteY3" fmla="*/ 5543615 h 5543615"/>
              <a:gd name="connsiteX4" fmla="*/ 0 w 6953055"/>
              <a:gd name="connsiteY4" fmla="*/ 5543615 h 5543615"/>
              <a:gd name="connsiteX0" fmla="*/ 0 w 6953055"/>
              <a:gd name="connsiteY0" fmla="*/ 5543615 h 5543615"/>
              <a:gd name="connsiteX1" fmla="*/ 4860212 w 6953055"/>
              <a:gd name="connsiteY1" fmla="*/ 8238 h 5543615"/>
              <a:gd name="connsiteX2" fmla="*/ 6953055 w 6953055"/>
              <a:gd name="connsiteY2" fmla="*/ 0 h 5543615"/>
              <a:gd name="connsiteX3" fmla="*/ 5313839 w 6953055"/>
              <a:gd name="connsiteY3" fmla="*/ 5543615 h 5543615"/>
              <a:gd name="connsiteX4" fmla="*/ 0 w 6953055"/>
              <a:gd name="connsiteY4" fmla="*/ 5543615 h 5543615"/>
              <a:gd name="connsiteX0" fmla="*/ 0 w 2784709"/>
              <a:gd name="connsiteY0" fmla="*/ 4703355 h 5543615"/>
              <a:gd name="connsiteX1" fmla="*/ 691866 w 2784709"/>
              <a:gd name="connsiteY1" fmla="*/ 8238 h 5543615"/>
              <a:gd name="connsiteX2" fmla="*/ 2784709 w 2784709"/>
              <a:gd name="connsiteY2" fmla="*/ 0 h 5543615"/>
              <a:gd name="connsiteX3" fmla="*/ 1145493 w 2784709"/>
              <a:gd name="connsiteY3" fmla="*/ 5543615 h 5543615"/>
              <a:gd name="connsiteX4" fmla="*/ 0 w 2784709"/>
              <a:gd name="connsiteY4" fmla="*/ 4703355 h 5543615"/>
              <a:gd name="connsiteX0" fmla="*/ 0 w 3657920"/>
              <a:gd name="connsiteY0" fmla="*/ 4250274 h 5543615"/>
              <a:gd name="connsiteX1" fmla="*/ 1565077 w 3657920"/>
              <a:gd name="connsiteY1" fmla="*/ 8238 h 5543615"/>
              <a:gd name="connsiteX2" fmla="*/ 3657920 w 3657920"/>
              <a:gd name="connsiteY2" fmla="*/ 0 h 5543615"/>
              <a:gd name="connsiteX3" fmla="*/ 2018704 w 3657920"/>
              <a:gd name="connsiteY3" fmla="*/ 5543615 h 5543615"/>
              <a:gd name="connsiteX4" fmla="*/ 0 w 3657920"/>
              <a:gd name="connsiteY4" fmla="*/ 4250274 h 5543615"/>
              <a:gd name="connsiteX0" fmla="*/ 0 w 3657920"/>
              <a:gd name="connsiteY0" fmla="*/ 4250274 h 4250274"/>
              <a:gd name="connsiteX1" fmla="*/ 1565077 w 3657920"/>
              <a:gd name="connsiteY1" fmla="*/ 8238 h 4250274"/>
              <a:gd name="connsiteX2" fmla="*/ 3657920 w 3657920"/>
              <a:gd name="connsiteY2" fmla="*/ 0 h 4250274"/>
              <a:gd name="connsiteX3" fmla="*/ 2241126 w 3657920"/>
              <a:gd name="connsiteY3" fmla="*/ 3780718 h 4250274"/>
              <a:gd name="connsiteX4" fmla="*/ 0 w 3657920"/>
              <a:gd name="connsiteY4" fmla="*/ 4250274 h 4250274"/>
              <a:gd name="connsiteX0" fmla="*/ 0 w 3657920"/>
              <a:gd name="connsiteY0" fmla="*/ 4250274 h 4258513"/>
              <a:gd name="connsiteX1" fmla="*/ 1565077 w 3657920"/>
              <a:gd name="connsiteY1" fmla="*/ 8238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0274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8512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8512 h 4258513"/>
              <a:gd name="connsiteX0" fmla="*/ 0 w 3735741"/>
              <a:gd name="connsiteY0" fmla="*/ 4258512 h 4258513"/>
              <a:gd name="connsiteX1" fmla="*/ 1618185 w 3735741"/>
              <a:gd name="connsiteY1" fmla="*/ 1 h 4258513"/>
              <a:gd name="connsiteX2" fmla="*/ 3735741 w 3735741"/>
              <a:gd name="connsiteY2" fmla="*/ 0 h 4258513"/>
              <a:gd name="connsiteX3" fmla="*/ 2195379 w 3735741"/>
              <a:gd name="connsiteY3" fmla="*/ 4258513 h 4258513"/>
              <a:gd name="connsiteX4" fmla="*/ 0 w 3735741"/>
              <a:gd name="connsiteY4" fmla="*/ 4258512 h 4258513"/>
              <a:gd name="connsiteX0" fmla="*/ 230070 w 2117556"/>
              <a:gd name="connsiteY0" fmla="*/ 4258512 h 4258513"/>
              <a:gd name="connsiteX1" fmla="*/ 0 w 2117556"/>
              <a:gd name="connsiteY1" fmla="*/ 1 h 4258513"/>
              <a:gd name="connsiteX2" fmla="*/ 2117556 w 2117556"/>
              <a:gd name="connsiteY2" fmla="*/ 0 h 4258513"/>
              <a:gd name="connsiteX3" fmla="*/ 577194 w 2117556"/>
              <a:gd name="connsiteY3" fmla="*/ 4258513 h 4258513"/>
              <a:gd name="connsiteX4" fmla="*/ 230070 w 2117556"/>
              <a:gd name="connsiteY4" fmla="*/ 4258512 h 4258513"/>
              <a:gd name="connsiteX0" fmla="*/ 0 w 1887486"/>
              <a:gd name="connsiteY0" fmla="*/ 4268239 h 4268240"/>
              <a:gd name="connsiteX1" fmla="*/ 1550092 w 1887486"/>
              <a:gd name="connsiteY1" fmla="*/ 0 h 4268240"/>
              <a:gd name="connsiteX2" fmla="*/ 1887486 w 1887486"/>
              <a:gd name="connsiteY2" fmla="*/ 9727 h 4268240"/>
              <a:gd name="connsiteX3" fmla="*/ 347124 w 1887486"/>
              <a:gd name="connsiteY3" fmla="*/ 4268240 h 4268240"/>
              <a:gd name="connsiteX4" fmla="*/ 0 w 1887486"/>
              <a:gd name="connsiteY4" fmla="*/ 4268239 h 4268240"/>
              <a:gd name="connsiteX0" fmla="*/ 0 w 1884289"/>
              <a:gd name="connsiteY0" fmla="*/ 4265042 h 4268240"/>
              <a:gd name="connsiteX1" fmla="*/ 1546895 w 1884289"/>
              <a:gd name="connsiteY1" fmla="*/ 0 h 4268240"/>
              <a:gd name="connsiteX2" fmla="*/ 1884289 w 1884289"/>
              <a:gd name="connsiteY2" fmla="*/ 9727 h 4268240"/>
              <a:gd name="connsiteX3" fmla="*/ 343927 w 1884289"/>
              <a:gd name="connsiteY3" fmla="*/ 4268240 h 4268240"/>
              <a:gd name="connsiteX4" fmla="*/ 0 w 1884289"/>
              <a:gd name="connsiteY4" fmla="*/ 4265042 h 4268240"/>
              <a:gd name="connsiteX0" fmla="*/ 0 w 1884289"/>
              <a:gd name="connsiteY0" fmla="*/ 4265042 h 4265042"/>
              <a:gd name="connsiteX1" fmla="*/ 1546895 w 1884289"/>
              <a:gd name="connsiteY1" fmla="*/ 0 h 4265042"/>
              <a:gd name="connsiteX2" fmla="*/ 1884289 w 1884289"/>
              <a:gd name="connsiteY2" fmla="*/ 9727 h 4265042"/>
              <a:gd name="connsiteX3" fmla="*/ 347124 w 1884289"/>
              <a:gd name="connsiteY3" fmla="*/ 4261845 h 4265042"/>
              <a:gd name="connsiteX4" fmla="*/ 0 w 1884289"/>
              <a:gd name="connsiteY4" fmla="*/ 4265042 h 4265042"/>
              <a:gd name="connsiteX0" fmla="*/ 0 w 1884289"/>
              <a:gd name="connsiteY0" fmla="*/ 4261845 h 4261845"/>
              <a:gd name="connsiteX1" fmla="*/ 1546895 w 1884289"/>
              <a:gd name="connsiteY1" fmla="*/ 0 h 4261845"/>
              <a:gd name="connsiteX2" fmla="*/ 1884289 w 1884289"/>
              <a:gd name="connsiteY2" fmla="*/ 9727 h 4261845"/>
              <a:gd name="connsiteX3" fmla="*/ 347124 w 1884289"/>
              <a:gd name="connsiteY3" fmla="*/ 4261845 h 4261845"/>
              <a:gd name="connsiteX4" fmla="*/ 0 w 1884289"/>
              <a:gd name="connsiteY4" fmla="*/ 4261845 h 4261845"/>
              <a:gd name="connsiteX0" fmla="*/ 0 w 1887555"/>
              <a:gd name="connsiteY0" fmla="*/ 4261845 h 4261845"/>
              <a:gd name="connsiteX1" fmla="*/ 1546895 w 1887555"/>
              <a:gd name="connsiteY1" fmla="*/ 0 h 4261845"/>
              <a:gd name="connsiteX2" fmla="*/ 1887555 w 1887555"/>
              <a:gd name="connsiteY2" fmla="*/ 6461 h 4261845"/>
              <a:gd name="connsiteX3" fmla="*/ 347124 w 1887555"/>
              <a:gd name="connsiteY3" fmla="*/ 4261845 h 4261845"/>
              <a:gd name="connsiteX4" fmla="*/ 0 w 1887555"/>
              <a:gd name="connsiteY4" fmla="*/ 4261845 h 4261845"/>
              <a:gd name="connsiteX0" fmla="*/ 0 w 1890821"/>
              <a:gd name="connsiteY0" fmla="*/ 4261845 h 4261845"/>
              <a:gd name="connsiteX1" fmla="*/ 1546895 w 1890821"/>
              <a:gd name="connsiteY1" fmla="*/ 0 h 4261845"/>
              <a:gd name="connsiteX2" fmla="*/ 1890821 w 1890821"/>
              <a:gd name="connsiteY2" fmla="*/ 3195 h 4261845"/>
              <a:gd name="connsiteX3" fmla="*/ 347124 w 1890821"/>
              <a:gd name="connsiteY3" fmla="*/ 4261845 h 4261845"/>
              <a:gd name="connsiteX4" fmla="*/ 0 w 1890821"/>
              <a:gd name="connsiteY4" fmla="*/ 4261845 h 4261845"/>
              <a:gd name="connsiteX0" fmla="*/ 0 w 1890821"/>
              <a:gd name="connsiteY0" fmla="*/ 4258650 h 4258650"/>
              <a:gd name="connsiteX1" fmla="*/ 1546895 w 1890821"/>
              <a:gd name="connsiteY1" fmla="*/ 3337 h 4258650"/>
              <a:gd name="connsiteX2" fmla="*/ 1890821 w 1890821"/>
              <a:gd name="connsiteY2" fmla="*/ 0 h 4258650"/>
              <a:gd name="connsiteX3" fmla="*/ 347124 w 1890821"/>
              <a:gd name="connsiteY3" fmla="*/ 4258650 h 4258650"/>
              <a:gd name="connsiteX4" fmla="*/ 0 w 1890821"/>
              <a:gd name="connsiteY4" fmla="*/ 4258650 h 4258650"/>
              <a:gd name="connsiteX0" fmla="*/ 0 w 1884289"/>
              <a:gd name="connsiteY0" fmla="*/ 4255313 h 4255313"/>
              <a:gd name="connsiteX1" fmla="*/ 1546895 w 1884289"/>
              <a:gd name="connsiteY1" fmla="*/ 0 h 4255313"/>
              <a:gd name="connsiteX2" fmla="*/ 1884289 w 1884289"/>
              <a:gd name="connsiteY2" fmla="*/ 3195 h 4255313"/>
              <a:gd name="connsiteX3" fmla="*/ 347124 w 1884289"/>
              <a:gd name="connsiteY3" fmla="*/ 4255313 h 4255313"/>
              <a:gd name="connsiteX4" fmla="*/ 0 w 1884289"/>
              <a:gd name="connsiteY4" fmla="*/ 4255313 h 4255313"/>
              <a:gd name="connsiteX0" fmla="*/ 0 w 1887146"/>
              <a:gd name="connsiteY0" fmla="*/ 4255313 h 4255313"/>
              <a:gd name="connsiteX1" fmla="*/ 1546895 w 1887146"/>
              <a:gd name="connsiteY1" fmla="*/ 0 h 4255313"/>
              <a:gd name="connsiteX2" fmla="*/ 1887146 w 1887146"/>
              <a:gd name="connsiteY2" fmla="*/ 338 h 4255313"/>
              <a:gd name="connsiteX3" fmla="*/ 347124 w 1887146"/>
              <a:gd name="connsiteY3" fmla="*/ 4255313 h 4255313"/>
              <a:gd name="connsiteX4" fmla="*/ 0 w 1887146"/>
              <a:gd name="connsiteY4" fmla="*/ 4255313 h 4255313"/>
              <a:gd name="connsiteX0" fmla="*/ 0 w 1887146"/>
              <a:gd name="connsiteY0" fmla="*/ 4254975 h 4254975"/>
              <a:gd name="connsiteX1" fmla="*/ 1532607 w 1887146"/>
              <a:gd name="connsiteY1" fmla="*/ 39667 h 4254975"/>
              <a:gd name="connsiteX2" fmla="*/ 1887146 w 1887146"/>
              <a:gd name="connsiteY2" fmla="*/ 0 h 4254975"/>
              <a:gd name="connsiteX3" fmla="*/ 347124 w 1887146"/>
              <a:gd name="connsiteY3" fmla="*/ 4254975 h 4254975"/>
              <a:gd name="connsiteX4" fmla="*/ 0 w 1887146"/>
              <a:gd name="connsiteY4" fmla="*/ 4254975 h 4254975"/>
              <a:gd name="connsiteX0" fmla="*/ 0 w 1887146"/>
              <a:gd name="connsiteY0" fmla="*/ 4255313 h 4255313"/>
              <a:gd name="connsiteX1" fmla="*/ 1544037 w 1887146"/>
              <a:gd name="connsiteY1" fmla="*/ 0 h 4255313"/>
              <a:gd name="connsiteX2" fmla="*/ 1887146 w 1887146"/>
              <a:gd name="connsiteY2" fmla="*/ 338 h 4255313"/>
              <a:gd name="connsiteX3" fmla="*/ 347124 w 1887146"/>
              <a:gd name="connsiteY3" fmla="*/ 4255313 h 4255313"/>
              <a:gd name="connsiteX4" fmla="*/ 0 w 1887146"/>
              <a:gd name="connsiteY4" fmla="*/ 4255313 h 4255313"/>
              <a:gd name="connsiteX0" fmla="*/ 0 w 1887146"/>
              <a:gd name="connsiteY0" fmla="*/ 4257832 h 4257832"/>
              <a:gd name="connsiteX1" fmla="*/ 1544037 w 1887146"/>
              <a:gd name="connsiteY1" fmla="*/ 2519 h 4257832"/>
              <a:gd name="connsiteX2" fmla="*/ 1887146 w 1887146"/>
              <a:gd name="connsiteY2" fmla="*/ 0 h 4257832"/>
              <a:gd name="connsiteX3" fmla="*/ 347124 w 1887146"/>
              <a:gd name="connsiteY3" fmla="*/ 4257832 h 4257832"/>
              <a:gd name="connsiteX4" fmla="*/ 0 w 1887146"/>
              <a:gd name="connsiteY4" fmla="*/ 4257832 h 4257832"/>
              <a:gd name="connsiteX0" fmla="*/ 0 w 1887146"/>
              <a:gd name="connsiteY0" fmla="*/ 4258026 h 4258026"/>
              <a:gd name="connsiteX1" fmla="*/ 1544037 w 1887146"/>
              <a:gd name="connsiteY1" fmla="*/ 0 h 4258026"/>
              <a:gd name="connsiteX2" fmla="*/ 1887146 w 1887146"/>
              <a:gd name="connsiteY2" fmla="*/ 194 h 4258026"/>
              <a:gd name="connsiteX3" fmla="*/ 347124 w 1887146"/>
              <a:gd name="connsiteY3" fmla="*/ 4258026 h 4258026"/>
              <a:gd name="connsiteX4" fmla="*/ 0 w 1887146"/>
              <a:gd name="connsiteY4" fmla="*/ 4258026 h 4258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146" h="4258026">
                <a:moveTo>
                  <a:pt x="0" y="4258026"/>
                </a:moveTo>
                <a:lnTo>
                  <a:pt x="1544037" y="0"/>
                </a:lnTo>
                <a:lnTo>
                  <a:pt x="1887146" y="194"/>
                </a:lnTo>
                <a:lnTo>
                  <a:pt x="347124" y="4258026"/>
                </a:lnTo>
                <a:lnTo>
                  <a:pt x="0" y="4258026"/>
                </a:lnTo>
                <a:close/>
              </a:path>
            </a:pathLst>
          </a:custGeom>
          <a:solidFill>
            <a:srgbClr val="2FAE7A">
              <a:alpha val="80000"/>
            </a:srgbClr>
          </a:solidFill>
        </p:spPr>
        <p:txBody>
          <a:bodyPr/>
          <a:lstStyle>
            <a:lvl1pPr marL="0" indent="0">
              <a:buNone/>
              <a:defRPr>
                <a:solidFill>
                  <a:schemeClr val="bg1">
                    <a:lumMod val="85000"/>
                  </a:schemeClr>
                </a:solidFill>
              </a:defRPr>
            </a:lvl1pPr>
          </a:lstStyle>
          <a:p>
            <a:r>
              <a:rPr lang="de-DE"/>
              <a:t> </a:t>
            </a:r>
          </a:p>
        </p:txBody>
      </p:sp>
      <p:sp>
        <p:nvSpPr>
          <p:cNvPr id="37" name="Textplatzhalter 2"/>
          <p:cNvSpPr>
            <a:spLocks noGrp="1"/>
          </p:cNvSpPr>
          <p:nvPr>
            <p:ph type="body" sz="quarter" idx="50" hasCustomPrompt="1"/>
          </p:nvPr>
        </p:nvSpPr>
        <p:spPr>
          <a:xfrm rot="17396310">
            <a:off x="-174816" y="3740041"/>
            <a:ext cx="3594949" cy="333842"/>
          </a:xfrm>
        </p:spPr>
        <p:txBody>
          <a:bodyPr anchor="ctr" anchorCtr="0"/>
          <a:lstStyle>
            <a:lvl1pPr marL="0" indent="0">
              <a:buNone/>
              <a:defRPr baseline="0">
                <a:solidFill>
                  <a:schemeClr val="bg1"/>
                </a:solidFill>
              </a:defRPr>
            </a:lvl1pPr>
          </a:lstStyle>
          <a:p>
            <a:pPr lvl="0"/>
            <a:r>
              <a:rPr lang="de-DE"/>
              <a:t>Lore </a:t>
            </a:r>
            <a:r>
              <a:rPr lang="de-DE" err="1"/>
              <a:t>ipsum</a:t>
            </a:r>
            <a:r>
              <a:rPr lang="de-DE"/>
              <a:t> in </a:t>
            </a:r>
            <a:r>
              <a:rPr lang="de-DE" err="1"/>
              <a:t>heritas</a:t>
            </a:r>
            <a:r>
              <a:rPr lang="de-DE"/>
              <a:t> esse </a:t>
            </a:r>
          </a:p>
        </p:txBody>
      </p:sp>
      <p:sp>
        <p:nvSpPr>
          <p:cNvPr id="39" name="Bildplatzhalter 2"/>
          <p:cNvSpPr>
            <a:spLocks noGrp="1"/>
          </p:cNvSpPr>
          <p:nvPr>
            <p:ph type="pic" sz="quarter" idx="52" hasCustomPrompt="1"/>
          </p:nvPr>
        </p:nvSpPr>
        <p:spPr bwMode="gray">
          <a:xfrm>
            <a:off x="1248472" y="1505161"/>
            <a:ext cx="3657920" cy="4258513"/>
          </a:xfrm>
          <a:custGeom>
            <a:avLst/>
            <a:gdLst>
              <a:gd name="connsiteX0" fmla="*/ 0 w 7043672"/>
              <a:gd name="connsiteY0" fmla="*/ 6919334 h 6919334"/>
              <a:gd name="connsiteX1" fmla="*/ 1729834 w 7043672"/>
              <a:gd name="connsiteY1" fmla="*/ 0 h 6919334"/>
              <a:gd name="connsiteX2" fmla="*/ 7043672 w 7043672"/>
              <a:gd name="connsiteY2" fmla="*/ 0 h 6919334"/>
              <a:gd name="connsiteX3" fmla="*/ 5313839 w 7043672"/>
              <a:gd name="connsiteY3" fmla="*/ 6919334 h 6919334"/>
              <a:gd name="connsiteX4" fmla="*/ 0 w 7043672"/>
              <a:gd name="connsiteY4" fmla="*/ 6919334 h 6919334"/>
              <a:gd name="connsiteX0" fmla="*/ 0 w 7043672"/>
              <a:gd name="connsiteY0" fmla="*/ 6919334 h 6919334"/>
              <a:gd name="connsiteX1" fmla="*/ 3187931 w 7043672"/>
              <a:gd name="connsiteY1" fmla="*/ 1746422 h 6919334"/>
              <a:gd name="connsiteX2" fmla="*/ 7043672 w 7043672"/>
              <a:gd name="connsiteY2" fmla="*/ 0 h 6919334"/>
              <a:gd name="connsiteX3" fmla="*/ 5313839 w 7043672"/>
              <a:gd name="connsiteY3" fmla="*/ 6919334 h 6919334"/>
              <a:gd name="connsiteX4" fmla="*/ 0 w 7043672"/>
              <a:gd name="connsiteY4" fmla="*/ 6919334 h 6919334"/>
              <a:gd name="connsiteX0" fmla="*/ 0 w 6953055"/>
              <a:gd name="connsiteY0" fmla="*/ 5543615 h 5543615"/>
              <a:gd name="connsiteX1" fmla="*/ 3187931 w 6953055"/>
              <a:gd name="connsiteY1" fmla="*/ 370703 h 5543615"/>
              <a:gd name="connsiteX2" fmla="*/ 6953055 w 6953055"/>
              <a:gd name="connsiteY2" fmla="*/ 0 h 5543615"/>
              <a:gd name="connsiteX3" fmla="*/ 5313839 w 6953055"/>
              <a:gd name="connsiteY3" fmla="*/ 5543615 h 5543615"/>
              <a:gd name="connsiteX4" fmla="*/ 0 w 6953055"/>
              <a:gd name="connsiteY4" fmla="*/ 5543615 h 5543615"/>
              <a:gd name="connsiteX0" fmla="*/ 0 w 6953055"/>
              <a:gd name="connsiteY0" fmla="*/ 5543615 h 5543615"/>
              <a:gd name="connsiteX1" fmla="*/ 4860212 w 6953055"/>
              <a:gd name="connsiteY1" fmla="*/ 8238 h 5543615"/>
              <a:gd name="connsiteX2" fmla="*/ 6953055 w 6953055"/>
              <a:gd name="connsiteY2" fmla="*/ 0 h 5543615"/>
              <a:gd name="connsiteX3" fmla="*/ 5313839 w 6953055"/>
              <a:gd name="connsiteY3" fmla="*/ 5543615 h 5543615"/>
              <a:gd name="connsiteX4" fmla="*/ 0 w 6953055"/>
              <a:gd name="connsiteY4" fmla="*/ 5543615 h 5543615"/>
              <a:gd name="connsiteX0" fmla="*/ 0 w 2784709"/>
              <a:gd name="connsiteY0" fmla="*/ 4703355 h 5543615"/>
              <a:gd name="connsiteX1" fmla="*/ 691866 w 2784709"/>
              <a:gd name="connsiteY1" fmla="*/ 8238 h 5543615"/>
              <a:gd name="connsiteX2" fmla="*/ 2784709 w 2784709"/>
              <a:gd name="connsiteY2" fmla="*/ 0 h 5543615"/>
              <a:gd name="connsiteX3" fmla="*/ 1145493 w 2784709"/>
              <a:gd name="connsiteY3" fmla="*/ 5543615 h 5543615"/>
              <a:gd name="connsiteX4" fmla="*/ 0 w 2784709"/>
              <a:gd name="connsiteY4" fmla="*/ 4703355 h 5543615"/>
              <a:gd name="connsiteX0" fmla="*/ 0 w 3657920"/>
              <a:gd name="connsiteY0" fmla="*/ 4250274 h 5543615"/>
              <a:gd name="connsiteX1" fmla="*/ 1565077 w 3657920"/>
              <a:gd name="connsiteY1" fmla="*/ 8238 h 5543615"/>
              <a:gd name="connsiteX2" fmla="*/ 3657920 w 3657920"/>
              <a:gd name="connsiteY2" fmla="*/ 0 h 5543615"/>
              <a:gd name="connsiteX3" fmla="*/ 2018704 w 3657920"/>
              <a:gd name="connsiteY3" fmla="*/ 5543615 h 5543615"/>
              <a:gd name="connsiteX4" fmla="*/ 0 w 3657920"/>
              <a:gd name="connsiteY4" fmla="*/ 4250274 h 5543615"/>
              <a:gd name="connsiteX0" fmla="*/ 0 w 3657920"/>
              <a:gd name="connsiteY0" fmla="*/ 4250274 h 4250274"/>
              <a:gd name="connsiteX1" fmla="*/ 1565077 w 3657920"/>
              <a:gd name="connsiteY1" fmla="*/ 8238 h 4250274"/>
              <a:gd name="connsiteX2" fmla="*/ 3657920 w 3657920"/>
              <a:gd name="connsiteY2" fmla="*/ 0 h 4250274"/>
              <a:gd name="connsiteX3" fmla="*/ 2241126 w 3657920"/>
              <a:gd name="connsiteY3" fmla="*/ 3780718 h 4250274"/>
              <a:gd name="connsiteX4" fmla="*/ 0 w 3657920"/>
              <a:gd name="connsiteY4" fmla="*/ 4250274 h 4250274"/>
              <a:gd name="connsiteX0" fmla="*/ 0 w 3657920"/>
              <a:gd name="connsiteY0" fmla="*/ 4250274 h 4258513"/>
              <a:gd name="connsiteX1" fmla="*/ 1565077 w 3657920"/>
              <a:gd name="connsiteY1" fmla="*/ 8238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0274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8512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8512 h 425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920" h="4258513">
                <a:moveTo>
                  <a:pt x="0" y="4258512"/>
                </a:moveTo>
                <a:lnTo>
                  <a:pt x="1540364" y="1"/>
                </a:lnTo>
                <a:lnTo>
                  <a:pt x="3657920" y="0"/>
                </a:lnTo>
                <a:lnTo>
                  <a:pt x="2117558" y="4258513"/>
                </a:lnTo>
                <a:lnTo>
                  <a:pt x="0" y="4258512"/>
                </a:lnTo>
                <a:close/>
              </a:path>
            </a:pathLst>
          </a:custGeom>
          <a:solidFill>
            <a:schemeClr val="bg1">
              <a:lumMod val="85000"/>
            </a:schemeClr>
          </a:solidFill>
        </p:spPr>
        <p:txBody>
          <a:bodyPr/>
          <a:lstStyle>
            <a:lvl1pPr marL="0" indent="0">
              <a:buNone/>
              <a:defRPr>
                <a:solidFill>
                  <a:schemeClr val="bg1">
                    <a:lumMod val="85000"/>
                  </a:schemeClr>
                </a:solidFill>
              </a:defRPr>
            </a:lvl1pPr>
          </a:lstStyle>
          <a:p>
            <a:r>
              <a:rPr lang="de-DE"/>
              <a:t> </a:t>
            </a:r>
          </a:p>
        </p:txBody>
      </p:sp>
      <p:sp>
        <p:nvSpPr>
          <p:cNvPr id="40" name="Bildplatzhalter 2"/>
          <p:cNvSpPr>
            <a:spLocks noGrp="1"/>
          </p:cNvSpPr>
          <p:nvPr>
            <p:ph type="pic" sz="quarter" idx="53" hasCustomPrompt="1"/>
          </p:nvPr>
        </p:nvSpPr>
        <p:spPr bwMode="gray">
          <a:xfrm>
            <a:off x="3018906" y="1503261"/>
            <a:ext cx="1887486" cy="4259387"/>
          </a:xfrm>
          <a:custGeom>
            <a:avLst/>
            <a:gdLst>
              <a:gd name="connsiteX0" fmla="*/ 0 w 7043672"/>
              <a:gd name="connsiteY0" fmla="*/ 6919334 h 6919334"/>
              <a:gd name="connsiteX1" fmla="*/ 1729834 w 7043672"/>
              <a:gd name="connsiteY1" fmla="*/ 0 h 6919334"/>
              <a:gd name="connsiteX2" fmla="*/ 7043672 w 7043672"/>
              <a:gd name="connsiteY2" fmla="*/ 0 h 6919334"/>
              <a:gd name="connsiteX3" fmla="*/ 5313839 w 7043672"/>
              <a:gd name="connsiteY3" fmla="*/ 6919334 h 6919334"/>
              <a:gd name="connsiteX4" fmla="*/ 0 w 7043672"/>
              <a:gd name="connsiteY4" fmla="*/ 6919334 h 6919334"/>
              <a:gd name="connsiteX0" fmla="*/ 0 w 7043672"/>
              <a:gd name="connsiteY0" fmla="*/ 6919334 h 6919334"/>
              <a:gd name="connsiteX1" fmla="*/ 3187931 w 7043672"/>
              <a:gd name="connsiteY1" fmla="*/ 1746422 h 6919334"/>
              <a:gd name="connsiteX2" fmla="*/ 7043672 w 7043672"/>
              <a:gd name="connsiteY2" fmla="*/ 0 h 6919334"/>
              <a:gd name="connsiteX3" fmla="*/ 5313839 w 7043672"/>
              <a:gd name="connsiteY3" fmla="*/ 6919334 h 6919334"/>
              <a:gd name="connsiteX4" fmla="*/ 0 w 7043672"/>
              <a:gd name="connsiteY4" fmla="*/ 6919334 h 6919334"/>
              <a:gd name="connsiteX0" fmla="*/ 0 w 6953055"/>
              <a:gd name="connsiteY0" fmla="*/ 5543615 h 5543615"/>
              <a:gd name="connsiteX1" fmla="*/ 3187931 w 6953055"/>
              <a:gd name="connsiteY1" fmla="*/ 370703 h 5543615"/>
              <a:gd name="connsiteX2" fmla="*/ 6953055 w 6953055"/>
              <a:gd name="connsiteY2" fmla="*/ 0 h 5543615"/>
              <a:gd name="connsiteX3" fmla="*/ 5313839 w 6953055"/>
              <a:gd name="connsiteY3" fmla="*/ 5543615 h 5543615"/>
              <a:gd name="connsiteX4" fmla="*/ 0 w 6953055"/>
              <a:gd name="connsiteY4" fmla="*/ 5543615 h 5543615"/>
              <a:gd name="connsiteX0" fmla="*/ 0 w 6953055"/>
              <a:gd name="connsiteY0" fmla="*/ 5543615 h 5543615"/>
              <a:gd name="connsiteX1" fmla="*/ 4860212 w 6953055"/>
              <a:gd name="connsiteY1" fmla="*/ 8238 h 5543615"/>
              <a:gd name="connsiteX2" fmla="*/ 6953055 w 6953055"/>
              <a:gd name="connsiteY2" fmla="*/ 0 h 5543615"/>
              <a:gd name="connsiteX3" fmla="*/ 5313839 w 6953055"/>
              <a:gd name="connsiteY3" fmla="*/ 5543615 h 5543615"/>
              <a:gd name="connsiteX4" fmla="*/ 0 w 6953055"/>
              <a:gd name="connsiteY4" fmla="*/ 5543615 h 5543615"/>
              <a:gd name="connsiteX0" fmla="*/ 0 w 2784709"/>
              <a:gd name="connsiteY0" fmla="*/ 4703355 h 5543615"/>
              <a:gd name="connsiteX1" fmla="*/ 691866 w 2784709"/>
              <a:gd name="connsiteY1" fmla="*/ 8238 h 5543615"/>
              <a:gd name="connsiteX2" fmla="*/ 2784709 w 2784709"/>
              <a:gd name="connsiteY2" fmla="*/ 0 h 5543615"/>
              <a:gd name="connsiteX3" fmla="*/ 1145493 w 2784709"/>
              <a:gd name="connsiteY3" fmla="*/ 5543615 h 5543615"/>
              <a:gd name="connsiteX4" fmla="*/ 0 w 2784709"/>
              <a:gd name="connsiteY4" fmla="*/ 4703355 h 5543615"/>
              <a:gd name="connsiteX0" fmla="*/ 0 w 3657920"/>
              <a:gd name="connsiteY0" fmla="*/ 4250274 h 5543615"/>
              <a:gd name="connsiteX1" fmla="*/ 1565077 w 3657920"/>
              <a:gd name="connsiteY1" fmla="*/ 8238 h 5543615"/>
              <a:gd name="connsiteX2" fmla="*/ 3657920 w 3657920"/>
              <a:gd name="connsiteY2" fmla="*/ 0 h 5543615"/>
              <a:gd name="connsiteX3" fmla="*/ 2018704 w 3657920"/>
              <a:gd name="connsiteY3" fmla="*/ 5543615 h 5543615"/>
              <a:gd name="connsiteX4" fmla="*/ 0 w 3657920"/>
              <a:gd name="connsiteY4" fmla="*/ 4250274 h 5543615"/>
              <a:gd name="connsiteX0" fmla="*/ 0 w 3657920"/>
              <a:gd name="connsiteY0" fmla="*/ 4250274 h 4250274"/>
              <a:gd name="connsiteX1" fmla="*/ 1565077 w 3657920"/>
              <a:gd name="connsiteY1" fmla="*/ 8238 h 4250274"/>
              <a:gd name="connsiteX2" fmla="*/ 3657920 w 3657920"/>
              <a:gd name="connsiteY2" fmla="*/ 0 h 4250274"/>
              <a:gd name="connsiteX3" fmla="*/ 2241126 w 3657920"/>
              <a:gd name="connsiteY3" fmla="*/ 3780718 h 4250274"/>
              <a:gd name="connsiteX4" fmla="*/ 0 w 3657920"/>
              <a:gd name="connsiteY4" fmla="*/ 4250274 h 4250274"/>
              <a:gd name="connsiteX0" fmla="*/ 0 w 3657920"/>
              <a:gd name="connsiteY0" fmla="*/ 4250274 h 4258513"/>
              <a:gd name="connsiteX1" fmla="*/ 1565077 w 3657920"/>
              <a:gd name="connsiteY1" fmla="*/ 8238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0274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8512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8512 h 4258513"/>
              <a:gd name="connsiteX0" fmla="*/ 0 w 3735741"/>
              <a:gd name="connsiteY0" fmla="*/ 4258512 h 4258513"/>
              <a:gd name="connsiteX1" fmla="*/ 1618185 w 3735741"/>
              <a:gd name="connsiteY1" fmla="*/ 1 h 4258513"/>
              <a:gd name="connsiteX2" fmla="*/ 3735741 w 3735741"/>
              <a:gd name="connsiteY2" fmla="*/ 0 h 4258513"/>
              <a:gd name="connsiteX3" fmla="*/ 2195379 w 3735741"/>
              <a:gd name="connsiteY3" fmla="*/ 4258513 h 4258513"/>
              <a:gd name="connsiteX4" fmla="*/ 0 w 3735741"/>
              <a:gd name="connsiteY4" fmla="*/ 4258512 h 4258513"/>
              <a:gd name="connsiteX0" fmla="*/ 230070 w 2117556"/>
              <a:gd name="connsiteY0" fmla="*/ 4258512 h 4258513"/>
              <a:gd name="connsiteX1" fmla="*/ 0 w 2117556"/>
              <a:gd name="connsiteY1" fmla="*/ 1 h 4258513"/>
              <a:gd name="connsiteX2" fmla="*/ 2117556 w 2117556"/>
              <a:gd name="connsiteY2" fmla="*/ 0 h 4258513"/>
              <a:gd name="connsiteX3" fmla="*/ 577194 w 2117556"/>
              <a:gd name="connsiteY3" fmla="*/ 4258513 h 4258513"/>
              <a:gd name="connsiteX4" fmla="*/ 230070 w 2117556"/>
              <a:gd name="connsiteY4" fmla="*/ 4258512 h 4258513"/>
              <a:gd name="connsiteX0" fmla="*/ 0 w 1887486"/>
              <a:gd name="connsiteY0" fmla="*/ 4268239 h 4268240"/>
              <a:gd name="connsiteX1" fmla="*/ 1550092 w 1887486"/>
              <a:gd name="connsiteY1" fmla="*/ 0 h 4268240"/>
              <a:gd name="connsiteX2" fmla="*/ 1887486 w 1887486"/>
              <a:gd name="connsiteY2" fmla="*/ 9727 h 4268240"/>
              <a:gd name="connsiteX3" fmla="*/ 347124 w 1887486"/>
              <a:gd name="connsiteY3" fmla="*/ 4268240 h 4268240"/>
              <a:gd name="connsiteX4" fmla="*/ 0 w 1887486"/>
              <a:gd name="connsiteY4" fmla="*/ 4268239 h 4268240"/>
              <a:gd name="connsiteX0" fmla="*/ 0 w 1887486"/>
              <a:gd name="connsiteY0" fmla="*/ 4268239 h 4268240"/>
              <a:gd name="connsiteX1" fmla="*/ 1550092 w 1887486"/>
              <a:gd name="connsiteY1" fmla="*/ 0 h 4268240"/>
              <a:gd name="connsiteX2" fmla="*/ 1887486 w 1887486"/>
              <a:gd name="connsiteY2" fmla="*/ 3333 h 4268240"/>
              <a:gd name="connsiteX3" fmla="*/ 347124 w 1887486"/>
              <a:gd name="connsiteY3" fmla="*/ 4268240 h 4268240"/>
              <a:gd name="connsiteX4" fmla="*/ 0 w 1887486"/>
              <a:gd name="connsiteY4" fmla="*/ 4268239 h 4268240"/>
              <a:gd name="connsiteX0" fmla="*/ 0 w 1887486"/>
              <a:gd name="connsiteY0" fmla="*/ 4261845 h 4268240"/>
              <a:gd name="connsiteX1" fmla="*/ 1550092 w 1887486"/>
              <a:gd name="connsiteY1" fmla="*/ 0 h 4268240"/>
              <a:gd name="connsiteX2" fmla="*/ 1887486 w 1887486"/>
              <a:gd name="connsiteY2" fmla="*/ 3333 h 4268240"/>
              <a:gd name="connsiteX3" fmla="*/ 347124 w 1887486"/>
              <a:gd name="connsiteY3" fmla="*/ 4268240 h 4268240"/>
              <a:gd name="connsiteX4" fmla="*/ 0 w 1887486"/>
              <a:gd name="connsiteY4" fmla="*/ 4261845 h 4268240"/>
              <a:gd name="connsiteX0" fmla="*/ 0 w 1887486"/>
              <a:gd name="connsiteY0" fmla="*/ 4261845 h 4261846"/>
              <a:gd name="connsiteX1" fmla="*/ 1550092 w 1887486"/>
              <a:gd name="connsiteY1" fmla="*/ 0 h 4261846"/>
              <a:gd name="connsiteX2" fmla="*/ 1887486 w 1887486"/>
              <a:gd name="connsiteY2" fmla="*/ 3333 h 4261846"/>
              <a:gd name="connsiteX3" fmla="*/ 350321 w 1887486"/>
              <a:gd name="connsiteY3" fmla="*/ 4261846 h 4261846"/>
              <a:gd name="connsiteX4" fmla="*/ 0 w 1887486"/>
              <a:gd name="connsiteY4" fmla="*/ 4261845 h 4261846"/>
              <a:gd name="connsiteX0" fmla="*/ 0 w 1887486"/>
              <a:gd name="connsiteY0" fmla="*/ 4261845 h 4261846"/>
              <a:gd name="connsiteX1" fmla="*/ 1550092 w 1887486"/>
              <a:gd name="connsiteY1" fmla="*/ 0 h 4261846"/>
              <a:gd name="connsiteX2" fmla="*/ 1887486 w 1887486"/>
              <a:gd name="connsiteY2" fmla="*/ 620 h 4261846"/>
              <a:gd name="connsiteX3" fmla="*/ 350321 w 1887486"/>
              <a:gd name="connsiteY3" fmla="*/ 4261846 h 4261846"/>
              <a:gd name="connsiteX4" fmla="*/ 0 w 1887486"/>
              <a:gd name="connsiteY4" fmla="*/ 4261845 h 4261846"/>
              <a:gd name="connsiteX0" fmla="*/ 0 w 1887486"/>
              <a:gd name="connsiteY0" fmla="*/ 4261225 h 4261226"/>
              <a:gd name="connsiteX1" fmla="*/ 1552550 w 1887486"/>
              <a:gd name="connsiteY1" fmla="*/ 1839 h 4261226"/>
              <a:gd name="connsiteX2" fmla="*/ 1887486 w 1887486"/>
              <a:gd name="connsiteY2" fmla="*/ 0 h 4261226"/>
              <a:gd name="connsiteX3" fmla="*/ 350321 w 1887486"/>
              <a:gd name="connsiteY3" fmla="*/ 4261226 h 4261226"/>
              <a:gd name="connsiteX4" fmla="*/ 0 w 1887486"/>
              <a:gd name="connsiteY4" fmla="*/ 4261225 h 4261226"/>
              <a:gd name="connsiteX0" fmla="*/ 0 w 1887486"/>
              <a:gd name="connsiteY0" fmla="*/ 4259386 h 4259387"/>
              <a:gd name="connsiteX1" fmla="*/ 1552550 w 1887486"/>
              <a:gd name="connsiteY1" fmla="*/ 0 h 4259387"/>
              <a:gd name="connsiteX2" fmla="*/ 1887486 w 1887486"/>
              <a:gd name="connsiteY2" fmla="*/ 3078 h 4259387"/>
              <a:gd name="connsiteX3" fmla="*/ 350321 w 1887486"/>
              <a:gd name="connsiteY3" fmla="*/ 4259387 h 4259387"/>
              <a:gd name="connsiteX4" fmla="*/ 0 w 1887486"/>
              <a:gd name="connsiteY4" fmla="*/ 4259386 h 4259387"/>
              <a:gd name="connsiteX0" fmla="*/ 0 w 1887486"/>
              <a:gd name="connsiteY0" fmla="*/ 4259386 h 4259387"/>
              <a:gd name="connsiteX1" fmla="*/ 1552550 w 1887486"/>
              <a:gd name="connsiteY1" fmla="*/ 0 h 4259387"/>
              <a:gd name="connsiteX2" fmla="*/ 1887486 w 1887486"/>
              <a:gd name="connsiteY2" fmla="*/ 619 h 4259387"/>
              <a:gd name="connsiteX3" fmla="*/ 350321 w 1887486"/>
              <a:gd name="connsiteY3" fmla="*/ 4259387 h 4259387"/>
              <a:gd name="connsiteX4" fmla="*/ 0 w 1887486"/>
              <a:gd name="connsiteY4" fmla="*/ 4259386 h 4259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486" h="4259387">
                <a:moveTo>
                  <a:pt x="0" y="4259386"/>
                </a:moveTo>
                <a:lnTo>
                  <a:pt x="1552550" y="0"/>
                </a:lnTo>
                <a:lnTo>
                  <a:pt x="1887486" y="619"/>
                </a:lnTo>
                <a:lnTo>
                  <a:pt x="350321" y="4259387"/>
                </a:lnTo>
                <a:lnTo>
                  <a:pt x="0" y="4259386"/>
                </a:lnTo>
                <a:close/>
              </a:path>
            </a:pathLst>
          </a:custGeom>
          <a:solidFill>
            <a:srgbClr val="2FAE7A">
              <a:alpha val="80000"/>
            </a:srgbClr>
          </a:solidFill>
        </p:spPr>
        <p:txBody>
          <a:bodyPr/>
          <a:lstStyle>
            <a:lvl1pPr marL="0" indent="0">
              <a:buNone/>
              <a:defRPr>
                <a:solidFill>
                  <a:schemeClr val="bg1">
                    <a:lumMod val="85000"/>
                  </a:schemeClr>
                </a:solidFill>
              </a:defRPr>
            </a:lvl1pPr>
          </a:lstStyle>
          <a:p>
            <a:r>
              <a:rPr lang="de-DE"/>
              <a:t> </a:t>
            </a:r>
          </a:p>
        </p:txBody>
      </p:sp>
      <p:sp>
        <p:nvSpPr>
          <p:cNvPr id="41" name="Textplatzhalter 2"/>
          <p:cNvSpPr>
            <a:spLocks noGrp="1"/>
          </p:cNvSpPr>
          <p:nvPr>
            <p:ph type="body" sz="quarter" idx="54" hasCustomPrompt="1"/>
          </p:nvPr>
        </p:nvSpPr>
        <p:spPr>
          <a:xfrm rot="17396310">
            <a:off x="2095139" y="3783541"/>
            <a:ext cx="3520950" cy="333842"/>
          </a:xfrm>
        </p:spPr>
        <p:txBody>
          <a:bodyPr anchor="ctr" anchorCtr="0"/>
          <a:lstStyle>
            <a:lvl1pPr marL="0" indent="0">
              <a:buNone/>
              <a:defRPr baseline="0">
                <a:solidFill>
                  <a:schemeClr val="bg1"/>
                </a:solidFill>
              </a:defRPr>
            </a:lvl1pPr>
          </a:lstStyle>
          <a:p>
            <a:pPr lvl="0"/>
            <a:r>
              <a:rPr lang="de-DE"/>
              <a:t>Lore </a:t>
            </a:r>
            <a:r>
              <a:rPr lang="de-DE" err="1"/>
              <a:t>ipsum</a:t>
            </a:r>
            <a:r>
              <a:rPr lang="de-DE"/>
              <a:t> in </a:t>
            </a:r>
            <a:r>
              <a:rPr lang="de-DE" err="1"/>
              <a:t>heritas</a:t>
            </a:r>
            <a:r>
              <a:rPr lang="de-DE"/>
              <a:t> esse </a:t>
            </a:r>
          </a:p>
        </p:txBody>
      </p:sp>
      <p:sp>
        <p:nvSpPr>
          <p:cNvPr id="42" name="Bildplatzhalter 2"/>
          <p:cNvSpPr>
            <a:spLocks noGrp="1"/>
          </p:cNvSpPr>
          <p:nvPr>
            <p:ph type="pic" sz="quarter" idx="55" hasCustomPrompt="1"/>
          </p:nvPr>
        </p:nvSpPr>
        <p:spPr bwMode="gray">
          <a:xfrm>
            <a:off x="3496002" y="1502650"/>
            <a:ext cx="3657920" cy="4258513"/>
          </a:xfrm>
          <a:custGeom>
            <a:avLst/>
            <a:gdLst>
              <a:gd name="connsiteX0" fmla="*/ 0 w 7043672"/>
              <a:gd name="connsiteY0" fmla="*/ 6919334 h 6919334"/>
              <a:gd name="connsiteX1" fmla="*/ 1729834 w 7043672"/>
              <a:gd name="connsiteY1" fmla="*/ 0 h 6919334"/>
              <a:gd name="connsiteX2" fmla="*/ 7043672 w 7043672"/>
              <a:gd name="connsiteY2" fmla="*/ 0 h 6919334"/>
              <a:gd name="connsiteX3" fmla="*/ 5313839 w 7043672"/>
              <a:gd name="connsiteY3" fmla="*/ 6919334 h 6919334"/>
              <a:gd name="connsiteX4" fmla="*/ 0 w 7043672"/>
              <a:gd name="connsiteY4" fmla="*/ 6919334 h 6919334"/>
              <a:gd name="connsiteX0" fmla="*/ 0 w 7043672"/>
              <a:gd name="connsiteY0" fmla="*/ 6919334 h 6919334"/>
              <a:gd name="connsiteX1" fmla="*/ 3187931 w 7043672"/>
              <a:gd name="connsiteY1" fmla="*/ 1746422 h 6919334"/>
              <a:gd name="connsiteX2" fmla="*/ 7043672 w 7043672"/>
              <a:gd name="connsiteY2" fmla="*/ 0 h 6919334"/>
              <a:gd name="connsiteX3" fmla="*/ 5313839 w 7043672"/>
              <a:gd name="connsiteY3" fmla="*/ 6919334 h 6919334"/>
              <a:gd name="connsiteX4" fmla="*/ 0 w 7043672"/>
              <a:gd name="connsiteY4" fmla="*/ 6919334 h 6919334"/>
              <a:gd name="connsiteX0" fmla="*/ 0 w 6953055"/>
              <a:gd name="connsiteY0" fmla="*/ 5543615 h 5543615"/>
              <a:gd name="connsiteX1" fmla="*/ 3187931 w 6953055"/>
              <a:gd name="connsiteY1" fmla="*/ 370703 h 5543615"/>
              <a:gd name="connsiteX2" fmla="*/ 6953055 w 6953055"/>
              <a:gd name="connsiteY2" fmla="*/ 0 h 5543615"/>
              <a:gd name="connsiteX3" fmla="*/ 5313839 w 6953055"/>
              <a:gd name="connsiteY3" fmla="*/ 5543615 h 5543615"/>
              <a:gd name="connsiteX4" fmla="*/ 0 w 6953055"/>
              <a:gd name="connsiteY4" fmla="*/ 5543615 h 5543615"/>
              <a:gd name="connsiteX0" fmla="*/ 0 w 6953055"/>
              <a:gd name="connsiteY0" fmla="*/ 5543615 h 5543615"/>
              <a:gd name="connsiteX1" fmla="*/ 4860212 w 6953055"/>
              <a:gd name="connsiteY1" fmla="*/ 8238 h 5543615"/>
              <a:gd name="connsiteX2" fmla="*/ 6953055 w 6953055"/>
              <a:gd name="connsiteY2" fmla="*/ 0 h 5543615"/>
              <a:gd name="connsiteX3" fmla="*/ 5313839 w 6953055"/>
              <a:gd name="connsiteY3" fmla="*/ 5543615 h 5543615"/>
              <a:gd name="connsiteX4" fmla="*/ 0 w 6953055"/>
              <a:gd name="connsiteY4" fmla="*/ 5543615 h 5543615"/>
              <a:gd name="connsiteX0" fmla="*/ 0 w 2784709"/>
              <a:gd name="connsiteY0" fmla="*/ 4703355 h 5543615"/>
              <a:gd name="connsiteX1" fmla="*/ 691866 w 2784709"/>
              <a:gd name="connsiteY1" fmla="*/ 8238 h 5543615"/>
              <a:gd name="connsiteX2" fmla="*/ 2784709 w 2784709"/>
              <a:gd name="connsiteY2" fmla="*/ 0 h 5543615"/>
              <a:gd name="connsiteX3" fmla="*/ 1145493 w 2784709"/>
              <a:gd name="connsiteY3" fmla="*/ 5543615 h 5543615"/>
              <a:gd name="connsiteX4" fmla="*/ 0 w 2784709"/>
              <a:gd name="connsiteY4" fmla="*/ 4703355 h 5543615"/>
              <a:gd name="connsiteX0" fmla="*/ 0 w 3657920"/>
              <a:gd name="connsiteY0" fmla="*/ 4250274 h 5543615"/>
              <a:gd name="connsiteX1" fmla="*/ 1565077 w 3657920"/>
              <a:gd name="connsiteY1" fmla="*/ 8238 h 5543615"/>
              <a:gd name="connsiteX2" fmla="*/ 3657920 w 3657920"/>
              <a:gd name="connsiteY2" fmla="*/ 0 h 5543615"/>
              <a:gd name="connsiteX3" fmla="*/ 2018704 w 3657920"/>
              <a:gd name="connsiteY3" fmla="*/ 5543615 h 5543615"/>
              <a:gd name="connsiteX4" fmla="*/ 0 w 3657920"/>
              <a:gd name="connsiteY4" fmla="*/ 4250274 h 5543615"/>
              <a:gd name="connsiteX0" fmla="*/ 0 w 3657920"/>
              <a:gd name="connsiteY0" fmla="*/ 4250274 h 4250274"/>
              <a:gd name="connsiteX1" fmla="*/ 1565077 w 3657920"/>
              <a:gd name="connsiteY1" fmla="*/ 8238 h 4250274"/>
              <a:gd name="connsiteX2" fmla="*/ 3657920 w 3657920"/>
              <a:gd name="connsiteY2" fmla="*/ 0 h 4250274"/>
              <a:gd name="connsiteX3" fmla="*/ 2241126 w 3657920"/>
              <a:gd name="connsiteY3" fmla="*/ 3780718 h 4250274"/>
              <a:gd name="connsiteX4" fmla="*/ 0 w 3657920"/>
              <a:gd name="connsiteY4" fmla="*/ 4250274 h 4250274"/>
              <a:gd name="connsiteX0" fmla="*/ 0 w 3657920"/>
              <a:gd name="connsiteY0" fmla="*/ 4250274 h 4258513"/>
              <a:gd name="connsiteX1" fmla="*/ 1565077 w 3657920"/>
              <a:gd name="connsiteY1" fmla="*/ 8238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0274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8512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8512 h 425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920" h="4258513">
                <a:moveTo>
                  <a:pt x="0" y="4258512"/>
                </a:moveTo>
                <a:lnTo>
                  <a:pt x="1540364" y="1"/>
                </a:lnTo>
                <a:lnTo>
                  <a:pt x="3657920" y="0"/>
                </a:lnTo>
                <a:lnTo>
                  <a:pt x="2117558" y="4258513"/>
                </a:lnTo>
                <a:lnTo>
                  <a:pt x="0" y="4258512"/>
                </a:lnTo>
                <a:close/>
              </a:path>
            </a:pathLst>
          </a:custGeom>
          <a:solidFill>
            <a:schemeClr val="bg1">
              <a:lumMod val="85000"/>
            </a:schemeClr>
          </a:solidFill>
        </p:spPr>
        <p:txBody>
          <a:bodyPr/>
          <a:lstStyle>
            <a:lvl1pPr marL="0" indent="0">
              <a:buNone/>
              <a:defRPr>
                <a:solidFill>
                  <a:schemeClr val="bg1">
                    <a:lumMod val="85000"/>
                  </a:schemeClr>
                </a:solidFill>
              </a:defRPr>
            </a:lvl1pPr>
          </a:lstStyle>
          <a:p>
            <a:r>
              <a:rPr lang="de-DE"/>
              <a:t> </a:t>
            </a:r>
          </a:p>
        </p:txBody>
      </p:sp>
      <p:sp>
        <p:nvSpPr>
          <p:cNvPr id="43" name="Bildplatzhalter 2"/>
          <p:cNvSpPr>
            <a:spLocks noGrp="1"/>
          </p:cNvSpPr>
          <p:nvPr>
            <p:ph type="pic" sz="quarter" idx="56" hasCustomPrompt="1"/>
          </p:nvPr>
        </p:nvSpPr>
        <p:spPr bwMode="gray">
          <a:xfrm>
            <a:off x="5268894" y="1504830"/>
            <a:ext cx="1885028" cy="4256046"/>
          </a:xfrm>
          <a:custGeom>
            <a:avLst/>
            <a:gdLst>
              <a:gd name="connsiteX0" fmla="*/ 0 w 7043672"/>
              <a:gd name="connsiteY0" fmla="*/ 6919334 h 6919334"/>
              <a:gd name="connsiteX1" fmla="*/ 1729834 w 7043672"/>
              <a:gd name="connsiteY1" fmla="*/ 0 h 6919334"/>
              <a:gd name="connsiteX2" fmla="*/ 7043672 w 7043672"/>
              <a:gd name="connsiteY2" fmla="*/ 0 h 6919334"/>
              <a:gd name="connsiteX3" fmla="*/ 5313839 w 7043672"/>
              <a:gd name="connsiteY3" fmla="*/ 6919334 h 6919334"/>
              <a:gd name="connsiteX4" fmla="*/ 0 w 7043672"/>
              <a:gd name="connsiteY4" fmla="*/ 6919334 h 6919334"/>
              <a:gd name="connsiteX0" fmla="*/ 0 w 7043672"/>
              <a:gd name="connsiteY0" fmla="*/ 6919334 h 6919334"/>
              <a:gd name="connsiteX1" fmla="*/ 3187931 w 7043672"/>
              <a:gd name="connsiteY1" fmla="*/ 1746422 h 6919334"/>
              <a:gd name="connsiteX2" fmla="*/ 7043672 w 7043672"/>
              <a:gd name="connsiteY2" fmla="*/ 0 h 6919334"/>
              <a:gd name="connsiteX3" fmla="*/ 5313839 w 7043672"/>
              <a:gd name="connsiteY3" fmla="*/ 6919334 h 6919334"/>
              <a:gd name="connsiteX4" fmla="*/ 0 w 7043672"/>
              <a:gd name="connsiteY4" fmla="*/ 6919334 h 6919334"/>
              <a:gd name="connsiteX0" fmla="*/ 0 w 6953055"/>
              <a:gd name="connsiteY0" fmla="*/ 5543615 h 5543615"/>
              <a:gd name="connsiteX1" fmla="*/ 3187931 w 6953055"/>
              <a:gd name="connsiteY1" fmla="*/ 370703 h 5543615"/>
              <a:gd name="connsiteX2" fmla="*/ 6953055 w 6953055"/>
              <a:gd name="connsiteY2" fmla="*/ 0 h 5543615"/>
              <a:gd name="connsiteX3" fmla="*/ 5313839 w 6953055"/>
              <a:gd name="connsiteY3" fmla="*/ 5543615 h 5543615"/>
              <a:gd name="connsiteX4" fmla="*/ 0 w 6953055"/>
              <a:gd name="connsiteY4" fmla="*/ 5543615 h 5543615"/>
              <a:gd name="connsiteX0" fmla="*/ 0 w 6953055"/>
              <a:gd name="connsiteY0" fmla="*/ 5543615 h 5543615"/>
              <a:gd name="connsiteX1" fmla="*/ 4860212 w 6953055"/>
              <a:gd name="connsiteY1" fmla="*/ 8238 h 5543615"/>
              <a:gd name="connsiteX2" fmla="*/ 6953055 w 6953055"/>
              <a:gd name="connsiteY2" fmla="*/ 0 h 5543615"/>
              <a:gd name="connsiteX3" fmla="*/ 5313839 w 6953055"/>
              <a:gd name="connsiteY3" fmla="*/ 5543615 h 5543615"/>
              <a:gd name="connsiteX4" fmla="*/ 0 w 6953055"/>
              <a:gd name="connsiteY4" fmla="*/ 5543615 h 5543615"/>
              <a:gd name="connsiteX0" fmla="*/ 0 w 2784709"/>
              <a:gd name="connsiteY0" fmla="*/ 4703355 h 5543615"/>
              <a:gd name="connsiteX1" fmla="*/ 691866 w 2784709"/>
              <a:gd name="connsiteY1" fmla="*/ 8238 h 5543615"/>
              <a:gd name="connsiteX2" fmla="*/ 2784709 w 2784709"/>
              <a:gd name="connsiteY2" fmla="*/ 0 h 5543615"/>
              <a:gd name="connsiteX3" fmla="*/ 1145493 w 2784709"/>
              <a:gd name="connsiteY3" fmla="*/ 5543615 h 5543615"/>
              <a:gd name="connsiteX4" fmla="*/ 0 w 2784709"/>
              <a:gd name="connsiteY4" fmla="*/ 4703355 h 5543615"/>
              <a:gd name="connsiteX0" fmla="*/ 0 w 3657920"/>
              <a:gd name="connsiteY0" fmla="*/ 4250274 h 5543615"/>
              <a:gd name="connsiteX1" fmla="*/ 1565077 w 3657920"/>
              <a:gd name="connsiteY1" fmla="*/ 8238 h 5543615"/>
              <a:gd name="connsiteX2" fmla="*/ 3657920 w 3657920"/>
              <a:gd name="connsiteY2" fmla="*/ 0 h 5543615"/>
              <a:gd name="connsiteX3" fmla="*/ 2018704 w 3657920"/>
              <a:gd name="connsiteY3" fmla="*/ 5543615 h 5543615"/>
              <a:gd name="connsiteX4" fmla="*/ 0 w 3657920"/>
              <a:gd name="connsiteY4" fmla="*/ 4250274 h 5543615"/>
              <a:gd name="connsiteX0" fmla="*/ 0 w 3657920"/>
              <a:gd name="connsiteY0" fmla="*/ 4250274 h 4250274"/>
              <a:gd name="connsiteX1" fmla="*/ 1565077 w 3657920"/>
              <a:gd name="connsiteY1" fmla="*/ 8238 h 4250274"/>
              <a:gd name="connsiteX2" fmla="*/ 3657920 w 3657920"/>
              <a:gd name="connsiteY2" fmla="*/ 0 h 4250274"/>
              <a:gd name="connsiteX3" fmla="*/ 2241126 w 3657920"/>
              <a:gd name="connsiteY3" fmla="*/ 3780718 h 4250274"/>
              <a:gd name="connsiteX4" fmla="*/ 0 w 3657920"/>
              <a:gd name="connsiteY4" fmla="*/ 4250274 h 4250274"/>
              <a:gd name="connsiteX0" fmla="*/ 0 w 3657920"/>
              <a:gd name="connsiteY0" fmla="*/ 4250274 h 4258513"/>
              <a:gd name="connsiteX1" fmla="*/ 1565077 w 3657920"/>
              <a:gd name="connsiteY1" fmla="*/ 8238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0274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8512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8512 h 4258513"/>
              <a:gd name="connsiteX0" fmla="*/ 0 w 3735741"/>
              <a:gd name="connsiteY0" fmla="*/ 4258512 h 4258513"/>
              <a:gd name="connsiteX1" fmla="*/ 1618185 w 3735741"/>
              <a:gd name="connsiteY1" fmla="*/ 1 h 4258513"/>
              <a:gd name="connsiteX2" fmla="*/ 3735741 w 3735741"/>
              <a:gd name="connsiteY2" fmla="*/ 0 h 4258513"/>
              <a:gd name="connsiteX3" fmla="*/ 2195379 w 3735741"/>
              <a:gd name="connsiteY3" fmla="*/ 4258513 h 4258513"/>
              <a:gd name="connsiteX4" fmla="*/ 0 w 3735741"/>
              <a:gd name="connsiteY4" fmla="*/ 4258512 h 4258513"/>
              <a:gd name="connsiteX0" fmla="*/ 230070 w 2117556"/>
              <a:gd name="connsiteY0" fmla="*/ 4258512 h 4258513"/>
              <a:gd name="connsiteX1" fmla="*/ 0 w 2117556"/>
              <a:gd name="connsiteY1" fmla="*/ 1 h 4258513"/>
              <a:gd name="connsiteX2" fmla="*/ 2117556 w 2117556"/>
              <a:gd name="connsiteY2" fmla="*/ 0 h 4258513"/>
              <a:gd name="connsiteX3" fmla="*/ 577194 w 2117556"/>
              <a:gd name="connsiteY3" fmla="*/ 4258513 h 4258513"/>
              <a:gd name="connsiteX4" fmla="*/ 230070 w 2117556"/>
              <a:gd name="connsiteY4" fmla="*/ 4258512 h 4258513"/>
              <a:gd name="connsiteX0" fmla="*/ 0 w 1887486"/>
              <a:gd name="connsiteY0" fmla="*/ 4268239 h 4268240"/>
              <a:gd name="connsiteX1" fmla="*/ 1550092 w 1887486"/>
              <a:gd name="connsiteY1" fmla="*/ 0 h 4268240"/>
              <a:gd name="connsiteX2" fmla="*/ 1887486 w 1887486"/>
              <a:gd name="connsiteY2" fmla="*/ 9727 h 4268240"/>
              <a:gd name="connsiteX3" fmla="*/ 347124 w 1887486"/>
              <a:gd name="connsiteY3" fmla="*/ 4268240 h 4268240"/>
              <a:gd name="connsiteX4" fmla="*/ 0 w 1887486"/>
              <a:gd name="connsiteY4" fmla="*/ 4268239 h 4268240"/>
              <a:gd name="connsiteX0" fmla="*/ 0 w 1887486"/>
              <a:gd name="connsiteY0" fmla="*/ 4261844 h 4261845"/>
              <a:gd name="connsiteX1" fmla="*/ 1550092 w 1887486"/>
              <a:gd name="connsiteY1" fmla="*/ 0 h 4261845"/>
              <a:gd name="connsiteX2" fmla="*/ 1887486 w 1887486"/>
              <a:gd name="connsiteY2" fmla="*/ 3332 h 4261845"/>
              <a:gd name="connsiteX3" fmla="*/ 347124 w 1887486"/>
              <a:gd name="connsiteY3" fmla="*/ 4261845 h 4261845"/>
              <a:gd name="connsiteX4" fmla="*/ 0 w 1887486"/>
              <a:gd name="connsiteY4" fmla="*/ 4261844 h 4261845"/>
              <a:gd name="connsiteX0" fmla="*/ 0 w 1887486"/>
              <a:gd name="connsiteY0" fmla="*/ 4258647 h 4261845"/>
              <a:gd name="connsiteX1" fmla="*/ 1550092 w 1887486"/>
              <a:gd name="connsiteY1" fmla="*/ 0 h 4261845"/>
              <a:gd name="connsiteX2" fmla="*/ 1887486 w 1887486"/>
              <a:gd name="connsiteY2" fmla="*/ 3332 h 4261845"/>
              <a:gd name="connsiteX3" fmla="*/ 347124 w 1887486"/>
              <a:gd name="connsiteY3" fmla="*/ 4261845 h 4261845"/>
              <a:gd name="connsiteX4" fmla="*/ 0 w 1887486"/>
              <a:gd name="connsiteY4" fmla="*/ 4258647 h 4261845"/>
              <a:gd name="connsiteX0" fmla="*/ 0 w 1887486"/>
              <a:gd name="connsiteY0" fmla="*/ 4258647 h 4258648"/>
              <a:gd name="connsiteX1" fmla="*/ 1550092 w 1887486"/>
              <a:gd name="connsiteY1" fmla="*/ 0 h 4258648"/>
              <a:gd name="connsiteX2" fmla="*/ 1887486 w 1887486"/>
              <a:gd name="connsiteY2" fmla="*/ 3332 h 4258648"/>
              <a:gd name="connsiteX3" fmla="*/ 343927 w 1887486"/>
              <a:gd name="connsiteY3" fmla="*/ 4258648 h 4258648"/>
              <a:gd name="connsiteX4" fmla="*/ 0 w 1887486"/>
              <a:gd name="connsiteY4" fmla="*/ 4258647 h 4258648"/>
              <a:gd name="connsiteX0" fmla="*/ 0 w 1887486"/>
              <a:gd name="connsiteY0" fmla="*/ 4258647 h 4258648"/>
              <a:gd name="connsiteX1" fmla="*/ 1550092 w 1887486"/>
              <a:gd name="connsiteY1" fmla="*/ 0 h 4258648"/>
              <a:gd name="connsiteX2" fmla="*/ 1887486 w 1887486"/>
              <a:gd name="connsiteY2" fmla="*/ 475 h 4258648"/>
              <a:gd name="connsiteX3" fmla="*/ 343927 w 1887486"/>
              <a:gd name="connsiteY3" fmla="*/ 4258648 h 4258648"/>
              <a:gd name="connsiteX4" fmla="*/ 0 w 1887486"/>
              <a:gd name="connsiteY4" fmla="*/ 4258647 h 4258648"/>
              <a:gd name="connsiteX0" fmla="*/ 0 w 1887486"/>
              <a:gd name="connsiteY0" fmla="*/ 4258172 h 4258173"/>
              <a:gd name="connsiteX1" fmla="*/ 1550092 w 1887486"/>
              <a:gd name="connsiteY1" fmla="*/ 2383 h 4258173"/>
              <a:gd name="connsiteX2" fmla="*/ 1887486 w 1887486"/>
              <a:gd name="connsiteY2" fmla="*/ 0 h 4258173"/>
              <a:gd name="connsiteX3" fmla="*/ 343927 w 1887486"/>
              <a:gd name="connsiteY3" fmla="*/ 4258173 h 4258173"/>
              <a:gd name="connsiteX4" fmla="*/ 0 w 1887486"/>
              <a:gd name="connsiteY4" fmla="*/ 4258172 h 4258173"/>
              <a:gd name="connsiteX0" fmla="*/ 0 w 1887486"/>
              <a:gd name="connsiteY0" fmla="*/ 4258503 h 4258504"/>
              <a:gd name="connsiteX1" fmla="*/ 1550092 w 1887486"/>
              <a:gd name="connsiteY1" fmla="*/ 0 h 4258504"/>
              <a:gd name="connsiteX2" fmla="*/ 1887486 w 1887486"/>
              <a:gd name="connsiteY2" fmla="*/ 331 h 4258504"/>
              <a:gd name="connsiteX3" fmla="*/ 343927 w 1887486"/>
              <a:gd name="connsiteY3" fmla="*/ 4258504 h 4258504"/>
              <a:gd name="connsiteX4" fmla="*/ 0 w 1887486"/>
              <a:gd name="connsiteY4" fmla="*/ 4258503 h 4258504"/>
              <a:gd name="connsiteX0" fmla="*/ 0 w 1885028"/>
              <a:gd name="connsiteY0" fmla="*/ 4256045 h 4258504"/>
              <a:gd name="connsiteX1" fmla="*/ 1547634 w 1885028"/>
              <a:gd name="connsiteY1" fmla="*/ 0 h 4258504"/>
              <a:gd name="connsiteX2" fmla="*/ 1885028 w 1885028"/>
              <a:gd name="connsiteY2" fmla="*/ 331 h 4258504"/>
              <a:gd name="connsiteX3" fmla="*/ 341469 w 1885028"/>
              <a:gd name="connsiteY3" fmla="*/ 4258504 h 4258504"/>
              <a:gd name="connsiteX4" fmla="*/ 0 w 1885028"/>
              <a:gd name="connsiteY4" fmla="*/ 4256045 h 4258504"/>
              <a:gd name="connsiteX0" fmla="*/ 0 w 1885028"/>
              <a:gd name="connsiteY0" fmla="*/ 4256045 h 4256046"/>
              <a:gd name="connsiteX1" fmla="*/ 1547634 w 1885028"/>
              <a:gd name="connsiteY1" fmla="*/ 0 h 4256046"/>
              <a:gd name="connsiteX2" fmla="*/ 1885028 w 1885028"/>
              <a:gd name="connsiteY2" fmla="*/ 331 h 4256046"/>
              <a:gd name="connsiteX3" fmla="*/ 341469 w 1885028"/>
              <a:gd name="connsiteY3" fmla="*/ 4256046 h 4256046"/>
              <a:gd name="connsiteX4" fmla="*/ 0 w 1885028"/>
              <a:gd name="connsiteY4" fmla="*/ 4256045 h 4256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5028" h="4256046">
                <a:moveTo>
                  <a:pt x="0" y="4256045"/>
                </a:moveTo>
                <a:lnTo>
                  <a:pt x="1547634" y="0"/>
                </a:lnTo>
                <a:lnTo>
                  <a:pt x="1885028" y="331"/>
                </a:lnTo>
                <a:lnTo>
                  <a:pt x="341469" y="4256046"/>
                </a:lnTo>
                <a:lnTo>
                  <a:pt x="0" y="4256045"/>
                </a:lnTo>
                <a:close/>
              </a:path>
            </a:pathLst>
          </a:custGeom>
          <a:solidFill>
            <a:srgbClr val="2FAE7A">
              <a:alpha val="80000"/>
            </a:srgbClr>
          </a:solidFill>
        </p:spPr>
        <p:txBody>
          <a:bodyPr/>
          <a:lstStyle>
            <a:lvl1pPr marL="0" indent="0">
              <a:buNone/>
              <a:defRPr>
                <a:solidFill>
                  <a:schemeClr val="bg1">
                    <a:lumMod val="85000"/>
                  </a:schemeClr>
                </a:solidFill>
              </a:defRPr>
            </a:lvl1pPr>
          </a:lstStyle>
          <a:p>
            <a:r>
              <a:rPr lang="de-DE"/>
              <a:t> </a:t>
            </a:r>
          </a:p>
        </p:txBody>
      </p:sp>
      <p:sp>
        <p:nvSpPr>
          <p:cNvPr id="44" name="Textplatzhalter 2"/>
          <p:cNvSpPr>
            <a:spLocks noGrp="1"/>
          </p:cNvSpPr>
          <p:nvPr>
            <p:ph type="body" sz="quarter" idx="57" hasCustomPrompt="1"/>
          </p:nvPr>
        </p:nvSpPr>
        <p:spPr>
          <a:xfrm rot="17396310">
            <a:off x="4384884" y="3855073"/>
            <a:ext cx="3389458" cy="333842"/>
          </a:xfrm>
        </p:spPr>
        <p:txBody>
          <a:bodyPr anchor="ctr" anchorCtr="0"/>
          <a:lstStyle>
            <a:lvl1pPr marL="0" indent="0">
              <a:buNone/>
              <a:defRPr baseline="0">
                <a:solidFill>
                  <a:schemeClr val="bg1"/>
                </a:solidFill>
              </a:defRPr>
            </a:lvl1pPr>
          </a:lstStyle>
          <a:p>
            <a:pPr lvl="0"/>
            <a:r>
              <a:rPr lang="de-DE"/>
              <a:t>Lore </a:t>
            </a:r>
            <a:r>
              <a:rPr lang="de-DE" err="1"/>
              <a:t>ipsum</a:t>
            </a:r>
            <a:r>
              <a:rPr lang="de-DE"/>
              <a:t> in </a:t>
            </a:r>
            <a:r>
              <a:rPr lang="de-DE" err="1"/>
              <a:t>heritas</a:t>
            </a:r>
            <a:r>
              <a:rPr lang="de-DE"/>
              <a:t> esse </a:t>
            </a:r>
          </a:p>
        </p:txBody>
      </p:sp>
      <p:sp>
        <p:nvSpPr>
          <p:cNvPr id="45" name="Bildplatzhalter 2"/>
          <p:cNvSpPr>
            <a:spLocks noGrp="1"/>
          </p:cNvSpPr>
          <p:nvPr>
            <p:ph type="pic" sz="quarter" idx="58" hasCustomPrompt="1"/>
          </p:nvPr>
        </p:nvSpPr>
        <p:spPr bwMode="gray">
          <a:xfrm>
            <a:off x="5741310" y="1504912"/>
            <a:ext cx="3657920" cy="4258513"/>
          </a:xfrm>
          <a:custGeom>
            <a:avLst/>
            <a:gdLst>
              <a:gd name="connsiteX0" fmla="*/ 0 w 7043672"/>
              <a:gd name="connsiteY0" fmla="*/ 6919334 h 6919334"/>
              <a:gd name="connsiteX1" fmla="*/ 1729834 w 7043672"/>
              <a:gd name="connsiteY1" fmla="*/ 0 h 6919334"/>
              <a:gd name="connsiteX2" fmla="*/ 7043672 w 7043672"/>
              <a:gd name="connsiteY2" fmla="*/ 0 h 6919334"/>
              <a:gd name="connsiteX3" fmla="*/ 5313839 w 7043672"/>
              <a:gd name="connsiteY3" fmla="*/ 6919334 h 6919334"/>
              <a:gd name="connsiteX4" fmla="*/ 0 w 7043672"/>
              <a:gd name="connsiteY4" fmla="*/ 6919334 h 6919334"/>
              <a:gd name="connsiteX0" fmla="*/ 0 w 7043672"/>
              <a:gd name="connsiteY0" fmla="*/ 6919334 h 6919334"/>
              <a:gd name="connsiteX1" fmla="*/ 3187931 w 7043672"/>
              <a:gd name="connsiteY1" fmla="*/ 1746422 h 6919334"/>
              <a:gd name="connsiteX2" fmla="*/ 7043672 w 7043672"/>
              <a:gd name="connsiteY2" fmla="*/ 0 h 6919334"/>
              <a:gd name="connsiteX3" fmla="*/ 5313839 w 7043672"/>
              <a:gd name="connsiteY3" fmla="*/ 6919334 h 6919334"/>
              <a:gd name="connsiteX4" fmla="*/ 0 w 7043672"/>
              <a:gd name="connsiteY4" fmla="*/ 6919334 h 6919334"/>
              <a:gd name="connsiteX0" fmla="*/ 0 w 6953055"/>
              <a:gd name="connsiteY0" fmla="*/ 5543615 h 5543615"/>
              <a:gd name="connsiteX1" fmla="*/ 3187931 w 6953055"/>
              <a:gd name="connsiteY1" fmla="*/ 370703 h 5543615"/>
              <a:gd name="connsiteX2" fmla="*/ 6953055 w 6953055"/>
              <a:gd name="connsiteY2" fmla="*/ 0 h 5543615"/>
              <a:gd name="connsiteX3" fmla="*/ 5313839 w 6953055"/>
              <a:gd name="connsiteY3" fmla="*/ 5543615 h 5543615"/>
              <a:gd name="connsiteX4" fmla="*/ 0 w 6953055"/>
              <a:gd name="connsiteY4" fmla="*/ 5543615 h 5543615"/>
              <a:gd name="connsiteX0" fmla="*/ 0 w 6953055"/>
              <a:gd name="connsiteY0" fmla="*/ 5543615 h 5543615"/>
              <a:gd name="connsiteX1" fmla="*/ 4860212 w 6953055"/>
              <a:gd name="connsiteY1" fmla="*/ 8238 h 5543615"/>
              <a:gd name="connsiteX2" fmla="*/ 6953055 w 6953055"/>
              <a:gd name="connsiteY2" fmla="*/ 0 h 5543615"/>
              <a:gd name="connsiteX3" fmla="*/ 5313839 w 6953055"/>
              <a:gd name="connsiteY3" fmla="*/ 5543615 h 5543615"/>
              <a:gd name="connsiteX4" fmla="*/ 0 w 6953055"/>
              <a:gd name="connsiteY4" fmla="*/ 5543615 h 5543615"/>
              <a:gd name="connsiteX0" fmla="*/ 0 w 2784709"/>
              <a:gd name="connsiteY0" fmla="*/ 4703355 h 5543615"/>
              <a:gd name="connsiteX1" fmla="*/ 691866 w 2784709"/>
              <a:gd name="connsiteY1" fmla="*/ 8238 h 5543615"/>
              <a:gd name="connsiteX2" fmla="*/ 2784709 w 2784709"/>
              <a:gd name="connsiteY2" fmla="*/ 0 h 5543615"/>
              <a:gd name="connsiteX3" fmla="*/ 1145493 w 2784709"/>
              <a:gd name="connsiteY3" fmla="*/ 5543615 h 5543615"/>
              <a:gd name="connsiteX4" fmla="*/ 0 w 2784709"/>
              <a:gd name="connsiteY4" fmla="*/ 4703355 h 5543615"/>
              <a:gd name="connsiteX0" fmla="*/ 0 w 3657920"/>
              <a:gd name="connsiteY0" fmla="*/ 4250274 h 5543615"/>
              <a:gd name="connsiteX1" fmla="*/ 1565077 w 3657920"/>
              <a:gd name="connsiteY1" fmla="*/ 8238 h 5543615"/>
              <a:gd name="connsiteX2" fmla="*/ 3657920 w 3657920"/>
              <a:gd name="connsiteY2" fmla="*/ 0 h 5543615"/>
              <a:gd name="connsiteX3" fmla="*/ 2018704 w 3657920"/>
              <a:gd name="connsiteY3" fmla="*/ 5543615 h 5543615"/>
              <a:gd name="connsiteX4" fmla="*/ 0 w 3657920"/>
              <a:gd name="connsiteY4" fmla="*/ 4250274 h 5543615"/>
              <a:gd name="connsiteX0" fmla="*/ 0 w 3657920"/>
              <a:gd name="connsiteY0" fmla="*/ 4250274 h 4250274"/>
              <a:gd name="connsiteX1" fmla="*/ 1565077 w 3657920"/>
              <a:gd name="connsiteY1" fmla="*/ 8238 h 4250274"/>
              <a:gd name="connsiteX2" fmla="*/ 3657920 w 3657920"/>
              <a:gd name="connsiteY2" fmla="*/ 0 h 4250274"/>
              <a:gd name="connsiteX3" fmla="*/ 2241126 w 3657920"/>
              <a:gd name="connsiteY3" fmla="*/ 3780718 h 4250274"/>
              <a:gd name="connsiteX4" fmla="*/ 0 w 3657920"/>
              <a:gd name="connsiteY4" fmla="*/ 4250274 h 4250274"/>
              <a:gd name="connsiteX0" fmla="*/ 0 w 3657920"/>
              <a:gd name="connsiteY0" fmla="*/ 4250274 h 4258513"/>
              <a:gd name="connsiteX1" fmla="*/ 1565077 w 3657920"/>
              <a:gd name="connsiteY1" fmla="*/ 8238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0274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8512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8512 h 425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920" h="4258513">
                <a:moveTo>
                  <a:pt x="0" y="4258512"/>
                </a:moveTo>
                <a:lnTo>
                  <a:pt x="1540364" y="1"/>
                </a:lnTo>
                <a:lnTo>
                  <a:pt x="3657920" y="0"/>
                </a:lnTo>
                <a:lnTo>
                  <a:pt x="2117558" y="4258513"/>
                </a:lnTo>
                <a:lnTo>
                  <a:pt x="0" y="4258512"/>
                </a:lnTo>
                <a:close/>
              </a:path>
            </a:pathLst>
          </a:custGeom>
          <a:solidFill>
            <a:schemeClr val="bg1">
              <a:lumMod val="85000"/>
            </a:schemeClr>
          </a:solidFill>
        </p:spPr>
        <p:txBody>
          <a:bodyPr/>
          <a:lstStyle>
            <a:lvl1pPr marL="0" indent="0">
              <a:buNone/>
              <a:defRPr>
                <a:solidFill>
                  <a:schemeClr val="bg1">
                    <a:lumMod val="85000"/>
                  </a:schemeClr>
                </a:solidFill>
              </a:defRPr>
            </a:lvl1pPr>
          </a:lstStyle>
          <a:p>
            <a:r>
              <a:rPr lang="de-DE"/>
              <a:t> </a:t>
            </a:r>
          </a:p>
        </p:txBody>
      </p:sp>
      <p:sp>
        <p:nvSpPr>
          <p:cNvPr id="46" name="Bildplatzhalter 2"/>
          <p:cNvSpPr>
            <a:spLocks noGrp="1"/>
          </p:cNvSpPr>
          <p:nvPr>
            <p:ph type="pic" sz="quarter" idx="59" hasCustomPrompt="1"/>
          </p:nvPr>
        </p:nvSpPr>
        <p:spPr bwMode="gray">
          <a:xfrm>
            <a:off x="7511744" y="1503612"/>
            <a:ext cx="1894017" cy="4261107"/>
          </a:xfrm>
          <a:custGeom>
            <a:avLst/>
            <a:gdLst>
              <a:gd name="connsiteX0" fmla="*/ 0 w 7043672"/>
              <a:gd name="connsiteY0" fmla="*/ 6919334 h 6919334"/>
              <a:gd name="connsiteX1" fmla="*/ 1729834 w 7043672"/>
              <a:gd name="connsiteY1" fmla="*/ 0 h 6919334"/>
              <a:gd name="connsiteX2" fmla="*/ 7043672 w 7043672"/>
              <a:gd name="connsiteY2" fmla="*/ 0 h 6919334"/>
              <a:gd name="connsiteX3" fmla="*/ 5313839 w 7043672"/>
              <a:gd name="connsiteY3" fmla="*/ 6919334 h 6919334"/>
              <a:gd name="connsiteX4" fmla="*/ 0 w 7043672"/>
              <a:gd name="connsiteY4" fmla="*/ 6919334 h 6919334"/>
              <a:gd name="connsiteX0" fmla="*/ 0 w 7043672"/>
              <a:gd name="connsiteY0" fmla="*/ 6919334 h 6919334"/>
              <a:gd name="connsiteX1" fmla="*/ 3187931 w 7043672"/>
              <a:gd name="connsiteY1" fmla="*/ 1746422 h 6919334"/>
              <a:gd name="connsiteX2" fmla="*/ 7043672 w 7043672"/>
              <a:gd name="connsiteY2" fmla="*/ 0 h 6919334"/>
              <a:gd name="connsiteX3" fmla="*/ 5313839 w 7043672"/>
              <a:gd name="connsiteY3" fmla="*/ 6919334 h 6919334"/>
              <a:gd name="connsiteX4" fmla="*/ 0 w 7043672"/>
              <a:gd name="connsiteY4" fmla="*/ 6919334 h 6919334"/>
              <a:gd name="connsiteX0" fmla="*/ 0 w 6953055"/>
              <a:gd name="connsiteY0" fmla="*/ 5543615 h 5543615"/>
              <a:gd name="connsiteX1" fmla="*/ 3187931 w 6953055"/>
              <a:gd name="connsiteY1" fmla="*/ 370703 h 5543615"/>
              <a:gd name="connsiteX2" fmla="*/ 6953055 w 6953055"/>
              <a:gd name="connsiteY2" fmla="*/ 0 h 5543615"/>
              <a:gd name="connsiteX3" fmla="*/ 5313839 w 6953055"/>
              <a:gd name="connsiteY3" fmla="*/ 5543615 h 5543615"/>
              <a:gd name="connsiteX4" fmla="*/ 0 w 6953055"/>
              <a:gd name="connsiteY4" fmla="*/ 5543615 h 5543615"/>
              <a:gd name="connsiteX0" fmla="*/ 0 w 6953055"/>
              <a:gd name="connsiteY0" fmla="*/ 5543615 h 5543615"/>
              <a:gd name="connsiteX1" fmla="*/ 4860212 w 6953055"/>
              <a:gd name="connsiteY1" fmla="*/ 8238 h 5543615"/>
              <a:gd name="connsiteX2" fmla="*/ 6953055 w 6953055"/>
              <a:gd name="connsiteY2" fmla="*/ 0 h 5543615"/>
              <a:gd name="connsiteX3" fmla="*/ 5313839 w 6953055"/>
              <a:gd name="connsiteY3" fmla="*/ 5543615 h 5543615"/>
              <a:gd name="connsiteX4" fmla="*/ 0 w 6953055"/>
              <a:gd name="connsiteY4" fmla="*/ 5543615 h 5543615"/>
              <a:gd name="connsiteX0" fmla="*/ 0 w 2784709"/>
              <a:gd name="connsiteY0" fmla="*/ 4703355 h 5543615"/>
              <a:gd name="connsiteX1" fmla="*/ 691866 w 2784709"/>
              <a:gd name="connsiteY1" fmla="*/ 8238 h 5543615"/>
              <a:gd name="connsiteX2" fmla="*/ 2784709 w 2784709"/>
              <a:gd name="connsiteY2" fmla="*/ 0 h 5543615"/>
              <a:gd name="connsiteX3" fmla="*/ 1145493 w 2784709"/>
              <a:gd name="connsiteY3" fmla="*/ 5543615 h 5543615"/>
              <a:gd name="connsiteX4" fmla="*/ 0 w 2784709"/>
              <a:gd name="connsiteY4" fmla="*/ 4703355 h 5543615"/>
              <a:gd name="connsiteX0" fmla="*/ 0 w 3657920"/>
              <a:gd name="connsiteY0" fmla="*/ 4250274 h 5543615"/>
              <a:gd name="connsiteX1" fmla="*/ 1565077 w 3657920"/>
              <a:gd name="connsiteY1" fmla="*/ 8238 h 5543615"/>
              <a:gd name="connsiteX2" fmla="*/ 3657920 w 3657920"/>
              <a:gd name="connsiteY2" fmla="*/ 0 h 5543615"/>
              <a:gd name="connsiteX3" fmla="*/ 2018704 w 3657920"/>
              <a:gd name="connsiteY3" fmla="*/ 5543615 h 5543615"/>
              <a:gd name="connsiteX4" fmla="*/ 0 w 3657920"/>
              <a:gd name="connsiteY4" fmla="*/ 4250274 h 5543615"/>
              <a:gd name="connsiteX0" fmla="*/ 0 w 3657920"/>
              <a:gd name="connsiteY0" fmla="*/ 4250274 h 4250274"/>
              <a:gd name="connsiteX1" fmla="*/ 1565077 w 3657920"/>
              <a:gd name="connsiteY1" fmla="*/ 8238 h 4250274"/>
              <a:gd name="connsiteX2" fmla="*/ 3657920 w 3657920"/>
              <a:gd name="connsiteY2" fmla="*/ 0 h 4250274"/>
              <a:gd name="connsiteX3" fmla="*/ 2241126 w 3657920"/>
              <a:gd name="connsiteY3" fmla="*/ 3780718 h 4250274"/>
              <a:gd name="connsiteX4" fmla="*/ 0 w 3657920"/>
              <a:gd name="connsiteY4" fmla="*/ 4250274 h 4250274"/>
              <a:gd name="connsiteX0" fmla="*/ 0 w 3657920"/>
              <a:gd name="connsiteY0" fmla="*/ 4250274 h 4258513"/>
              <a:gd name="connsiteX1" fmla="*/ 1565077 w 3657920"/>
              <a:gd name="connsiteY1" fmla="*/ 8238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0274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8512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8512 h 4258513"/>
              <a:gd name="connsiteX0" fmla="*/ 0 w 3735741"/>
              <a:gd name="connsiteY0" fmla="*/ 4258512 h 4258513"/>
              <a:gd name="connsiteX1" fmla="*/ 1618185 w 3735741"/>
              <a:gd name="connsiteY1" fmla="*/ 1 h 4258513"/>
              <a:gd name="connsiteX2" fmla="*/ 3735741 w 3735741"/>
              <a:gd name="connsiteY2" fmla="*/ 0 h 4258513"/>
              <a:gd name="connsiteX3" fmla="*/ 2195379 w 3735741"/>
              <a:gd name="connsiteY3" fmla="*/ 4258513 h 4258513"/>
              <a:gd name="connsiteX4" fmla="*/ 0 w 3735741"/>
              <a:gd name="connsiteY4" fmla="*/ 4258512 h 4258513"/>
              <a:gd name="connsiteX0" fmla="*/ 230070 w 2117556"/>
              <a:gd name="connsiteY0" fmla="*/ 4258512 h 4258513"/>
              <a:gd name="connsiteX1" fmla="*/ 0 w 2117556"/>
              <a:gd name="connsiteY1" fmla="*/ 1 h 4258513"/>
              <a:gd name="connsiteX2" fmla="*/ 2117556 w 2117556"/>
              <a:gd name="connsiteY2" fmla="*/ 0 h 4258513"/>
              <a:gd name="connsiteX3" fmla="*/ 577194 w 2117556"/>
              <a:gd name="connsiteY3" fmla="*/ 4258513 h 4258513"/>
              <a:gd name="connsiteX4" fmla="*/ 230070 w 2117556"/>
              <a:gd name="connsiteY4" fmla="*/ 4258512 h 4258513"/>
              <a:gd name="connsiteX0" fmla="*/ 0 w 1887486"/>
              <a:gd name="connsiteY0" fmla="*/ 4268239 h 4268240"/>
              <a:gd name="connsiteX1" fmla="*/ 1550092 w 1887486"/>
              <a:gd name="connsiteY1" fmla="*/ 0 h 4268240"/>
              <a:gd name="connsiteX2" fmla="*/ 1887486 w 1887486"/>
              <a:gd name="connsiteY2" fmla="*/ 9727 h 4268240"/>
              <a:gd name="connsiteX3" fmla="*/ 347124 w 1887486"/>
              <a:gd name="connsiteY3" fmla="*/ 4268240 h 4268240"/>
              <a:gd name="connsiteX4" fmla="*/ 0 w 1887486"/>
              <a:gd name="connsiteY4" fmla="*/ 4268239 h 4268240"/>
              <a:gd name="connsiteX0" fmla="*/ 0 w 1887486"/>
              <a:gd name="connsiteY0" fmla="*/ 4261845 h 4261846"/>
              <a:gd name="connsiteX1" fmla="*/ 1546895 w 1887486"/>
              <a:gd name="connsiteY1" fmla="*/ 0 h 4261846"/>
              <a:gd name="connsiteX2" fmla="*/ 1887486 w 1887486"/>
              <a:gd name="connsiteY2" fmla="*/ 3333 h 4261846"/>
              <a:gd name="connsiteX3" fmla="*/ 347124 w 1887486"/>
              <a:gd name="connsiteY3" fmla="*/ 4261846 h 4261846"/>
              <a:gd name="connsiteX4" fmla="*/ 0 w 1887486"/>
              <a:gd name="connsiteY4" fmla="*/ 4261845 h 4261846"/>
              <a:gd name="connsiteX0" fmla="*/ 0 w 1887486"/>
              <a:gd name="connsiteY0" fmla="*/ 4258648 h 4258649"/>
              <a:gd name="connsiteX1" fmla="*/ 1543698 w 1887486"/>
              <a:gd name="connsiteY1" fmla="*/ 0 h 4258649"/>
              <a:gd name="connsiteX2" fmla="*/ 1887486 w 1887486"/>
              <a:gd name="connsiteY2" fmla="*/ 136 h 4258649"/>
              <a:gd name="connsiteX3" fmla="*/ 347124 w 1887486"/>
              <a:gd name="connsiteY3" fmla="*/ 4258649 h 4258649"/>
              <a:gd name="connsiteX4" fmla="*/ 0 w 1887486"/>
              <a:gd name="connsiteY4" fmla="*/ 4258648 h 4258649"/>
              <a:gd name="connsiteX0" fmla="*/ 0 w 1887486"/>
              <a:gd name="connsiteY0" fmla="*/ 4252116 h 4258649"/>
              <a:gd name="connsiteX1" fmla="*/ 1543698 w 1887486"/>
              <a:gd name="connsiteY1" fmla="*/ 0 h 4258649"/>
              <a:gd name="connsiteX2" fmla="*/ 1887486 w 1887486"/>
              <a:gd name="connsiteY2" fmla="*/ 136 h 4258649"/>
              <a:gd name="connsiteX3" fmla="*/ 347124 w 1887486"/>
              <a:gd name="connsiteY3" fmla="*/ 4258649 h 4258649"/>
              <a:gd name="connsiteX4" fmla="*/ 0 w 1887486"/>
              <a:gd name="connsiteY4" fmla="*/ 4252116 h 4258649"/>
              <a:gd name="connsiteX0" fmla="*/ 0 w 1887486"/>
              <a:gd name="connsiteY0" fmla="*/ 4252116 h 4252118"/>
              <a:gd name="connsiteX1" fmla="*/ 1543698 w 1887486"/>
              <a:gd name="connsiteY1" fmla="*/ 0 h 4252118"/>
              <a:gd name="connsiteX2" fmla="*/ 1887486 w 1887486"/>
              <a:gd name="connsiteY2" fmla="*/ 136 h 4252118"/>
              <a:gd name="connsiteX3" fmla="*/ 347124 w 1887486"/>
              <a:gd name="connsiteY3" fmla="*/ 4252118 h 4252118"/>
              <a:gd name="connsiteX4" fmla="*/ 0 w 1887486"/>
              <a:gd name="connsiteY4" fmla="*/ 4252116 h 4252118"/>
              <a:gd name="connsiteX0" fmla="*/ 0 w 1887486"/>
              <a:gd name="connsiteY0" fmla="*/ 4258647 h 4258649"/>
              <a:gd name="connsiteX1" fmla="*/ 1543698 w 1887486"/>
              <a:gd name="connsiteY1" fmla="*/ 0 h 4258649"/>
              <a:gd name="connsiteX2" fmla="*/ 1887486 w 1887486"/>
              <a:gd name="connsiteY2" fmla="*/ 6667 h 4258649"/>
              <a:gd name="connsiteX3" fmla="*/ 347124 w 1887486"/>
              <a:gd name="connsiteY3" fmla="*/ 4258649 h 4258649"/>
              <a:gd name="connsiteX4" fmla="*/ 0 w 1887486"/>
              <a:gd name="connsiteY4" fmla="*/ 4258647 h 4258649"/>
              <a:gd name="connsiteX0" fmla="*/ 0 w 1894017"/>
              <a:gd name="connsiteY0" fmla="*/ 4258647 h 4258649"/>
              <a:gd name="connsiteX1" fmla="*/ 1543698 w 1894017"/>
              <a:gd name="connsiteY1" fmla="*/ 0 h 4258649"/>
              <a:gd name="connsiteX2" fmla="*/ 1894017 w 1894017"/>
              <a:gd name="connsiteY2" fmla="*/ 135 h 4258649"/>
              <a:gd name="connsiteX3" fmla="*/ 347124 w 1894017"/>
              <a:gd name="connsiteY3" fmla="*/ 4258649 h 4258649"/>
              <a:gd name="connsiteX4" fmla="*/ 0 w 1894017"/>
              <a:gd name="connsiteY4" fmla="*/ 4258647 h 4258649"/>
              <a:gd name="connsiteX0" fmla="*/ 0 w 1894017"/>
              <a:gd name="connsiteY0" fmla="*/ 4258647 h 4258649"/>
              <a:gd name="connsiteX1" fmla="*/ 1543698 w 1894017"/>
              <a:gd name="connsiteY1" fmla="*/ 0 h 4258649"/>
              <a:gd name="connsiteX2" fmla="*/ 1894017 w 1894017"/>
              <a:gd name="connsiteY2" fmla="*/ 135 h 4258649"/>
              <a:gd name="connsiteX3" fmla="*/ 347124 w 1894017"/>
              <a:gd name="connsiteY3" fmla="*/ 4258649 h 4258649"/>
              <a:gd name="connsiteX4" fmla="*/ 0 w 1894017"/>
              <a:gd name="connsiteY4" fmla="*/ 4258647 h 4258649"/>
              <a:gd name="connsiteX0" fmla="*/ 0 w 1894017"/>
              <a:gd name="connsiteY0" fmla="*/ 4258647 h 4258647"/>
              <a:gd name="connsiteX1" fmla="*/ 1543698 w 1894017"/>
              <a:gd name="connsiteY1" fmla="*/ 0 h 4258647"/>
              <a:gd name="connsiteX2" fmla="*/ 1894017 w 1894017"/>
              <a:gd name="connsiteY2" fmla="*/ 135 h 4258647"/>
              <a:gd name="connsiteX3" fmla="*/ 347124 w 1894017"/>
              <a:gd name="connsiteY3" fmla="*/ 4256191 h 4258647"/>
              <a:gd name="connsiteX4" fmla="*/ 0 w 1894017"/>
              <a:gd name="connsiteY4" fmla="*/ 4258647 h 4258647"/>
              <a:gd name="connsiteX0" fmla="*/ 0 w 1894017"/>
              <a:gd name="connsiteY0" fmla="*/ 4253731 h 4256191"/>
              <a:gd name="connsiteX1" fmla="*/ 1543698 w 1894017"/>
              <a:gd name="connsiteY1" fmla="*/ 0 h 4256191"/>
              <a:gd name="connsiteX2" fmla="*/ 1894017 w 1894017"/>
              <a:gd name="connsiteY2" fmla="*/ 135 h 4256191"/>
              <a:gd name="connsiteX3" fmla="*/ 347124 w 1894017"/>
              <a:gd name="connsiteY3" fmla="*/ 4256191 h 4256191"/>
              <a:gd name="connsiteX4" fmla="*/ 0 w 1894017"/>
              <a:gd name="connsiteY4" fmla="*/ 4253731 h 4256191"/>
              <a:gd name="connsiteX0" fmla="*/ 0 w 1894017"/>
              <a:gd name="connsiteY0" fmla="*/ 4256189 h 4256191"/>
              <a:gd name="connsiteX1" fmla="*/ 1543698 w 1894017"/>
              <a:gd name="connsiteY1" fmla="*/ 0 h 4256191"/>
              <a:gd name="connsiteX2" fmla="*/ 1894017 w 1894017"/>
              <a:gd name="connsiteY2" fmla="*/ 135 h 4256191"/>
              <a:gd name="connsiteX3" fmla="*/ 347124 w 1894017"/>
              <a:gd name="connsiteY3" fmla="*/ 4256191 h 4256191"/>
              <a:gd name="connsiteX4" fmla="*/ 0 w 1894017"/>
              <a:gd name="connsiteY4" fmla="*/ 4256189 h 4256191"/>
              <a:gd name="connsiteX0" fmla="*/ 0 w 1894017"/>
              <a:gd name="connsiteY0" fmla="*/ 4261105 h 4261105"/>
              <a:gd name="connsiteX1" fmla="*/ 1543698 w 1894017"/>
              <a:gd name="connsiteY1" fmla="*/ 0 h 4261105"/>
              <a:gd name="connsiteX2" fmla="*/ 1894017 w 1894017"/>
              <a:gd name="connsiteY2" fmla="*/ 135 h 4261105"/>
              <a:gd name="connsiteX3" fmla="*/ 347124 w 1894017"/>
              <a:gd name="connsiteY3" fmla="*/ 4256191 h 4261105"/>
              <a:gd name="connsiteX4" fmla="*/ 0 w 1894017"/>
              <a:gd name="connsiteY4" fmla="*/ 4261105 h 4261105"/>
              <a:gd name="connsiteX0" fmla="*/ 0 w 1894017"/>
              <a:gd name="connsiteY0" fmla="*/ 4261105 h 4261107"/>
              <a:gd name="connsiteX1" fmla="*/ 1543698 w 1894017"/>
              <a:gd name="connsiteY1" fmla="*/ 0 h 4261107"/>
              <a:gd name="connsiteX2" fmla="*/ 1894017 w 1894017"/>
              <a:gd name="connsiteY2" fmla="*/ 135 h 4261107"/>
              <a:gd name="connsiteX3" fmla="*/ 347124 w 1894017"/>
              <a:gd name="connsiteY3" fmla="*/ 4261107 h 4261107"/>
              <a:gd name="connsiteX4" fmla="*/ 0 w 1894017"/>
              <a:gd name="connsiteY4" fmla="*/ 4261105 h 4261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4017" h="4261107">
                <a:moveTo>
                  <a:pt x="0" y="4261105"/>
                </a:moveTo>
                <a:lnTo>
                  <a:pt x="1543698" y="0"/>
                </a:lnTo>
                <a:lnTo>
                  <a:pt x="1894017" y="135"/>
                </a:lnTo>
                <a:lnTo>
                  <a:pt x="347124" y="4261107"/>
                </a:lnTo>
                <a:lnTo>
                  <a:pt x="0" y="4261105"/>
                </a:lnTo>
                <a:close/>
              </a:path>
            </a:pathLst>
          </a:custGeom>
          <a:solidFill>
            <a:srgbClr val="2FAE7A">
              <a:alpha val="80000"/>
            </a:srgbClr>
          </a:solidFill>
        </p:spPr>
        <p:txBody>
          <a:bodyPr/>
          <a:lstStyle>
            <a:lvl1pPr marL="0" indent="0">
              <a:buNone/>
              <a:defRPr>
                <a:solidFill>
                  <a:schemeClr val="bg1">
                    <a:lumMod val="85000"/>
                  </a:schemeClr>
                </a:solidFill>
              </a:defRPr>
            </a:lvl1pPr>
          </a:lstStyle>
          <a:p>
            <a:r>
              <a:rPr lang="de-DE"/>
              <a:t> </a:t>
            </a:r>
          </a:p>
        </p:txBody>
      </p:sp>
      <p:sp>
        <p:nvSpPr>
          <p:cNvPr id="47" name="Textplatzhalter 2"/>
          <p:cNvSpPr>
            <a:spLocks noGrp="1"/>
          </p:cNvSpPr>
          <p:nvPr>
            <p:ph type="body" sz="quarter" idx="60" hasCustomPrompt="1"/>
          </p:nvPr>
        </p:nvSpPr>
        <p:spPr>
          <a:xfrm rot="17396310">
            <a:off x="6633370" y="3854984"/>
            <a:ext cx="3383181" cy="333842"/>
          </a:xfrm>
        </p:spPr>
        <p:txBody>
          <a:bodyPr anchor="ctr" anchorCtr="0"/>
          <a:lstStyle>
            <a:lvl1pPr marL="0" indent="0">
              <a:buNone/>
              <a:defRPr baseline="0">
                <a:solidFill>
                  <a:schemeClr val="bg1"/>
                </a:solidFill>
              </a:defRPr>
            </a:lvl1pPr>
          </a:lstStyle>
          <a:p>
            <a:pPr lvl="0"/>
            <a:r>
              <a:rPr lang="de-DE"/>
              <a:t>Lore </a:t>
            </a:r>
            <a:r>
              <a:rPr lang="de-DE" err="1"/>
              <a:t>ipsum</a:t>
            </a:r>
            <a:r>
              <a:rPr lang="de-DE"/>
              <a:t> in </a:t>
            </a:r>
            <a:r>
              <a:rPr lang="de-DE" err="1"/>
              <a:t>heritas</a:t>
            </a:r>
            <a:r>
              <a:rPr lang="de-DE"/>
              <a:t> esse </a:t>
            </a:r>
          </a:p>
        </p:txBody>
      </p:sp>
      <p:sp>
        <p:nvSpPr>
          <p:cNvPr id="48" name="Bildplatzhalter 2"/>
          <p:cNvSpPr>
            <a:spLocks noGrp="1"/>
          </p:cNvSpPr>
          <p:nvPr>
            <p:ph type="pic" sz="quarter" idx="61" hasCustomPrompt="1"/>
          </p:nvPr>
        </p:nvSpPr>
        <p:spPr bwMode="gray">
          <a:xfrm>
            <a:off x="7993149" y="1505161"/>
            <a:ext cx="3657920" cy="4258513"/>
          </a:xfrm>
          <a:custGeom>
            <a:avLst/>
            <a:gdLst>
              <a:gd name="connsiteX0" fmla="*/ 0 w 7043672"/>
              <a:gd name="connsiteY0" fmla="*/ 6919334 h 6919334"/>
              <a:gd name="connsiteX1" fmla="*/ 1729834 w 7043672"/>
              <a:gd name="connsiteY1" fmla="*/ 0 h 6919334"/>
              <a:gd name="connsiteX2" fmla="*/ 7043672 w 7043672"/>
              <a:gd name="connsiteY2" fmla="*/ 0 h 6919334"/>
              <a:gd name="connsiteX3" fmla="*/ 5313839 w 7043672"/>
              <a:gd name="connsiteY3" fmla="*/ 6919334 h 6919334"/>
              <a:gd name="connsiteX4" fmla="*/ 0 w 7043672"/>
              <a:gd name="connsiteY4" fmla="*/ 6919334 h 6919334"/>
              <a:gd name="connsiteX0" fmla="*/ 0 w 7043672"/>
              <a:gd name="connsiteY0" fmla="*/ 6919334 h 6919334"/>
              <a:gd name="connsiteX1" fmla="*/ 3187931 w 7043672"/>
              <a:gd name="connsiteY1" fmla="*/ 1746422 h 6919334"/>
              <a:gd name="connsiteX2" fmla="*/ 7043672 w 7043672"/>
              <a:gd name="connsiteY2" fmla="*/ 0 h 6919334"/>
              <a:gd name="connsiteX3" fmla="*/ 5313839 w 7043672"/>
              <a:gd name="connsiteY3" fmla="*/ 6919334 h 6919334"/>
              <a:gd name="connsiteX4" fmla="*/ 0 w 7043672"/>
              <a:gd name="connsiteY4" fmla="*/ 6919334 h 6919334"/>
              <a:gd name="connsiteX0" fmla="*/ 0 w 6953055"/>
              <a:gd name="connsiteY0" fmla="*/ 5543615 h 5543615"/>
              <a:gd name="connsiteX1" fmla="*/ 3187931 w 6953055"/>
              <a:gd name="connsiteY1" fmla="*/ 370703 h 5543615"/>
              <a:gd name="connsiteX2" fmla="*/ 6953055 w 6953055"/>
              <a:gd name="connsiteY2" fmla="*/ 0 h 5543615"/>
              <a:gd name="connsiteX3" fmla="*/ 5313839 w 6953055"/>
              <a:gd name="connsiteY3" fmla="*/ 5543615 h 5543615"/>
              <a:gd name="connsiteX4" fmla="*/ 0 w 6953055"/>
              <a:gd name="connsiteY4" fmla="*/ 5543615 h 5543615"/>
              <a:gd name="connsiteX0" fmla="*/ 0 w 6953055"/>
              <a:gd name="connsiteY0" fmla="*/ 5543615 h 5543615"/>
              <a:gd name="connsiteX1" fmla="*/ 4860212 w 6953055"/>
              <a:gd name="connsiteY1" fmla="*/ 8238 h 5543615"/>
              <a:gd name="connsiteX2" fmla="*/ 6953055 w 6953055"/>
              <a:gd name="connsiteY2" fmla="*/ 0 h 5543615"/>
              <a:gd name="connsiteX3" fmla="*/ 5313839 w 6953055"/>
              <a:gd name="connsiteY3" fmla="*/ 5543615 h 5543615"/>
              <a:gd name="connsiteX4" fmla="*/ 0 w 6953055"/>
              <a:gd name="connsiteY4" fmla="*/ 5543615 h 5543615"/>
              <a:gd name="connsiteX0" fmla="*/ 0 w 2784709"/>
              <a:gd name="connsiteY0" fmla="*/ 4703355 h 5543615"/>
              <a:gd name="connsiteX1" fmla="*/ 691866 w 2784709"/>
              <a:gd name="connsiteY1" fmla="*/ 8238 h 5543615"/>
              <a:gd name="connsiteX2" fmla="*/ 2784709 w 2784709"/>
              <a:gd name="connsiteY2" fmla="*/ 0 h 5543615"/>
              <a:gd name="connsiteX3" fmla="*/ 1145493 w 2784709"/>
              <a:gd name="connsiteY3" fmla="*/ 5543615 h 5543615"/>
              <a:gd name="connsiteX4" fmla="*/ 0 w 2784709"/>
              <a:gd name="connsiteY4" fmla="*/ 4703355 h 5543615"/>
              <a:gd name="connsiteX0" fmla="*/ 0 w 3657920"/>
              <a:gd name="connsiteY0" fmla="*/ 4250274 h 5543615"/>
              <a:gd name="connsiteX1" fmla="*/ 1565077 w 3657920"/>
              <a:gd name="connsiteY1" fmla="*/ 8238 h 5543615"/>
              <a:gd name="connsiteX2" fmla="*/ 3657920 w 3657920"/>
              <a:gd name="connsiteY2" fmla="*/ 0 h 5543615"/>
              <a:gd name="connsiteX3" fmla="*/ 2018704 w 3657920"/>
              <a:gd name="connsiteY3" fmla="*/ 5543615 h 5543615"/>
              <a:gd name="connsiteX4" fmla="*/ 0 w 3657920"/>
              <a:gd name="connsiteY4" fmla="*/ 4250274 h 5543615"/>
              <a:gd name="connsiteX0" fmla="*/ 0 w 3657920"/>
              <a:gd name="connsiteY0" fmla="*/ 4250274 h 4250274"/>
              <a:gd name="connsiteX1" fmla="*/ 1565077 w 3657920"/>
              <a:gd name="connsiteY1" fmla="*/ 8238 h 4250274"/>
              <a:gd name="connsiteX2" fmla="*/ 3657920 w 3657920"/>
              <a:gd name="connsiteY2" fmla="*/ 0 h 4250274"/>
              <a:gd name="connsiteX3" fmla="*/ 2241126 w 3657920"/>
              <a:gd name="connsiteY3" fmla="*/ 3780718 h 4250274"/>
              <a:gd name="connsiteX4" fmla="*/ 0 w 3657920"/>
              <a:gd name="connsiteY4" fmla="*/ 4250274 h 4250274"/>
              <a:gd name="connsiteX0" fmla="*/ 0 w 3657920"/>
              <a:gd name="connsiteY0" fmla="*/ 4250274 h 4258513"/>
              <a:gd name="connsiteX1" fmla="*/ 1565077 w 3657920"/>
              <a:gd name="connsiteY1" fmla="*/ 8238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0274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8512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8512 h 425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920" h="4258513">
                <a:moveTo>
                  <a:pt x="0" y="4258512"/>
                </a:moveTo>
                <a:lnTo>
                  <a:pt x="1540364" y="1"/>
                </a:lnTo>
                <a:lnTo>
                  <a:pt x="3657920" y="0"/>
                </a:lnTo>
                <a:lnTo>
                  <a:pt x="2117558" y="4258513"/>
                </a:lnTo>
                <a:lnTo>
                  <a:pt x="0" y="4258512"/>
                </a:lnTo>
                <a:close/>
              </a:path>
            </a:pathLst>
          </a:custGeom>
          <a:solidFill>
            <a:schemeClr val="bg1">
              <a:lumMod val="85000"/>
            </a:schemeClr>
          </a:solidFill>
        </p:spPr>
        <p:txBody>
          <a:bodyPr/>
          <a:lstStyle>
            <a:lvl1pPr marL="0" indent="0">
              <a:buNone/>
              <a:defRPr>
                <a:solidFill>
                  <a:schemeClr val="bg1">
                    <a:lumMod val="85000"/>
                  </a:schemeClr>
                </a:solidFill>
              </a:defRPr>
            </a:lvl1pPr>
          </a:lstStyle>
          <a:p>
            <a:r>
              <a:rPr lang="de-DE"/>
              <a:t> </a:t>
            </a:r>
          </a:p>
        </p:txBody>
      </p:sp>
      <p:sp>
        <p:nvSpPr>
          <p:cNvPr id="49" name="Bildplatzhalter 2"/>
          <p:cNvSpPr>
            <a:spLocks noGrp="1"/>
          </p:cNvSpPr>
          <p:nvPr>
            <p:ph type="pic" sz="quarter" idx="62" hasCustomPrompt="1"/>
          </p:nvPr>
        </p:nvSpPr>
        <p:spPr bwMode="gray">
          <a:xfrm>
            <a:off x="9763583" y="1507195"/>
            <a:ext cx="1887486" cy="4258649"/>
          </a:xfrm>
          <a:custGeom>
            <a:avLst/>
            <a:gdLst>
              <a:gd name="connsiteX0" fmla="*/ 0 w 7043672"/>
              <a:gd name="connsiteY0" fmla="*/ 6919334 h 6919334"/>
              <a:gd name="connsiteX1" fmla="*/ 1729834 w 7043672"/>
              <a:gd name="connsiteY1" fmla="*/ 0 h 6919334"/>
              <a:gd name="connsiteX2" fmla="*/ 7043672 w 7043672"/>
              <a:gd name="connsiteY2" fmla="*/ 0 h 6919334"/>
              <a:gd name="connsiteX3" fmla="*/ 5313839 w 7043672"/>
              <a:gd name="connsiteY3" fmla="*/ 6919334 h 6919334"/>
              <a:gd name="connsiteX4" fmla="*/ 0 w 7043672"/>
              <a:gd name="connsiteY4" fmla="*/ 6919334 h 6919334"/>
              <a:gd name="connsiteX0" fmla="*/ 0 w 7043672"/>
              <a:gd name="connsiteY0" fmla="*/ 6919334 h 6919334"/>
              <a:gd name="connsiteX1" fmla="*/ 3187931 w 7043672"/>
              <a:gd name="connsiteY1" fmla="*/ 1746422 h 6919334"/>
              <a:gd name="connsiteX2" fmla="*/ 7043672 w 7043672"/>
              <a:gd name="connsiteY2" fmla="*/ 0 h 6919334"/>
              <a:gd name="connsiteX3" fmla="*/ 5313839 w 7043672"/>
              <a:gd name="connsiteY3" fmla="*/ 6919334 h 6919334"/>
              <a:gd name="connsiteX4" fmla="*/ 0 w 7043672"/>
              <a:gd name="connsiteY4" fmla="*/ 6919334 h 6919334"/>
              <a:gd name="connsiteX0" fmla="*/ 0 w 6953055"/>
              <a:gd name="connsiteY0" fmla="*/ 5543615 h 5543615"/>
              <a:gd name="connsiteX1" fmla="*/ 3187931 w 6953055"/>
              <a:gd name="connsiteY1" fmla="*/ 370703 h 5543615"/>
              <a:gd name="connsiteX2" fmla="*/ 6953055 w 6953055"/>
              <a:gd name="connsiteY2" fmla="*/ 0 h 5543615"/>
              <a:gd name="connsiteX3" fmla="*/ 5313839 w 6953055"/>
              <a:gd name="connsiteY3" fmla="*/ 5543615 h 5543615"/>
              <a:gd name="connsiteX4" fmla="*/ 0 w 6953055"/>
              <a:gd name="connsiteY4" fmla="*/ 5543615 h 5543615"/>
              <a:gd name="connsiteX0" fmla="*/ 0 w 6953055"/>
              <a:gd name="connsiteY0" fmla="*/ 5543615 h 5543615"/>
              <a:gd name="connsiteX1" fmla="*/ 4860212 w 6953055"/>
              <a:gd name="connsiteY1" fmla="*/ 8238 h 5543615"/>
              <a:gd name="connsiteX2" fmla="*/ 6953055 w 6953055"/>
              <a:gd name="connsiteY2" fmla="*/ 0 h 5543615"/>
              <a:gd name="connsiteX3" fmla="*/ 5313839 w 6953055"/>
              <a:gd name="connsiteY3" fmla="*/ 5543615 h 5543615"/>
              <a:gd name="connsiteX4" fmla="*/ 0 w 6953055"/>
              <a:gd name="connsiteY4" fmla="*/ 5543615 h 5543615"/>
              <a:gd name="connsiteX0" fmla="*/ 0 w 2784709"/>
              <a:gd name="connsiteY0" fmla="*/ 4703355 h 5543615"/>
              <a:gd name="connsiteX1" fmla="*/ 691866 w 2784709"/>
              <a:gd name="connsiteY1" fmla="*/ 8238 h 5543615"/>
              <a:gd name="connsiteX2" fmla="*/ 2784709 w 2784709"/>
              <a:gd name="connsiteY2" fmla="*/ 0 h 5543615"/>
              <a:gd name="connsiteX3" fmla="*/ 1145493 w 2784709"/>
              <a:gd name="connsiteY3" fmla="*/ 5543615 h 5543615"/>
              <a:gd name="connsiteX4" fmla="*/ 0 w 2784709"/>
              <a:gd name="connsiteY4" fmla="*/ 4703355 h 5543615"/>
              <a:gd name="connsiteX0" fmla="*/ 0 w 3657920"/>
              <a:gd name="connsiteY0" fmla="*/ 4250274 h 5543615"/>
              <a:gd name="connsiteX1" fmla="*/ 1565077 w 3657920"/>
              <a:gd name="connsiteY1" fmla="*/ 8238 h 5543615"/>
              <a:gd name="connsiteX2" fmla="*/ 3657920 w 3657920"/>
              <a:gd name="connsiteY2" fmla="*/ 0 h 5543615"/>
              <a:gd name="connsiteX3" fmla="*/ 2018704 w 3657920"/>
              <a:gd name="connsiteY3" fmla="*/ 5543615 h 5543615"/>
              <a:gd name="connsiteX4" fmla="*/ 0 w 3657920"/>
              <a:gd name="connsiteY4" fmla="*/ 4250274 h 5543615"/>
              <a:gd name="connsiteX0" fmla="*/ 0 w 3657920"/>
              <a:gd name="connsiteY0" fmla="*/ 4250274 h 4250274"/>
              <a:gd name="connsiteX1" fmla="*/ 1565077 w 3657920"/>
              <a:gd name="connsiteY1" fmla="*/ 8238 h 4250274"/>
              <a:gd name="connsiteX2" fmla="*/ 3657920 w 3657920"/>
              <a:gd name="connsiteY2" fmla="*/ 0 h 4250274"/>
              <a:gd name="connsiteX3" fmla="*/ 2241126 w 3657920"/>
              <a:gd name="connsiteY3" fmla="*/ 3780718 h 4250274"/>
              <a:gd name="connsiteX4" fmla="*/ 0 w 3657920"/>
              <a:gd name="connsiteY4" fmla="*/ 4250274 h 4250274"/>
              <a:gd name="connsiteX0" fmla="*/ 0 w 3657920"/>
              <a:gd name="connsiteY0" fmla="*/ 4250274 h 4258513"/>
              <a:gd name="connsiteX1" fmla="*/ 1565077 w 3657920"/>
              <a:gd name="connsiteY1" fmla="*/ 8238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0274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0274 h 4258513"/>
              <a:gd name="connsiteX0" fmla="*/ 0 w 3657920"/>
              <a:gd name="connsiteY0" fmla="*/ 4258512 h 4258513"/>
              <a:gd name="connsiteX1" fmla="*/ 1540364 w 3657920"/>
              <a:gd name="connsiteY1" fmla="*/ 1 h 4258513"/>
              <a:gd name="connsiteX2" fmla="*/ 3657920 w 3657920"/>
              <a:gd name="connsiteY2" fmla="*/ 0 h 4258513"/>
              <a:gd name="connsiteX3" fmla="*/ 2117558 w 3657920"/>
              <a:gd name="connsiteY3" fmla="*/ 4258513 h 4258513"/>
              <a:gd name="connsiteX4" fmla="*/ 0 w 3657920"/>
              <a:gd name="connsiteY4" fmla="*/ 4258512 h 4258513"/>
              <a:gd name="connsiteX0" fmla="*/ 0 w 3735741"/>
              <a:gd name="connsiteY0" fmla="*/ 4258512 h 4258513"/>
              <a:gd name="connsiteX1" fmla="*/ 1618185 w 3735741"/>
              <a:gd name="connsiteY1" fmla="*/ 1 h 4258513"/>
              <a:gd name="connsiteX2" fmla="*/ 3735741 w 3735741"/>
              <a:gd name="connsiteY2" fmla="*/ 0 h 4258513"/>
              <a:gd name="connsiteX3" fmla="*/ 2195379 w 3735741"/>
              <a:gd name="connsiteY3" fmla="*/ 4258513 h 4258513"/>
              <a:gd name="connsiteX4" fmla="*/ 0 w 3735741"/>
              <a:gd name="connsiteY4" fmla="*/ 4258512 h 4258513"/>
              <a:gd name="connsiteX0" fmla="*/ 230070 w 2117556"/>
              <a:gd name="connsiteY0" fmla="*/ 4258512 h 4258513"/>
              <a:gd name="connsiteX1" fmla="*/ 0 w 2117556"/>
              <a:gd name="connsiteY1" fmla="*/ 1 h 4258513"/>
              <a:gd name="connsiteX2" fmla="*/ 2117556 w 2117556"/>
              <a:gd name="connsiteY2" fmla="*/ 0 h 4258513"/>
              <a:gd name="connsiteX3" fmla="*/ 577194 w 2117556"/>
              <a:gd name="connsiteY3" fmla="*/ 4258513 h 4258513"/>
              <a:gd name="connsiteX4" fmla="*/ 230070 w 2117556"/>
              <a:gd name="connsiteY4" fmla="*/ 4258512 h 4258513"/>
              <a:gd name="connsiteX0" fmla="*/ 0 w 1887486"/>
              <a:gd name="connsiteY0" fmla="*/ 4268239 h 4268240"/>
              <a:gd name="connsiteX1" fmla="*/ 1550092 w 1887486"/>
              <a:gd name="connsiteY1" fmla="*/ 0 h 4268240"/>
              <a:gd name="connsiteX2" fmla="*/ 1887486 w 1887486"/>
              <a:gd name="connsiteY2" fmla="*/ 9727 h 4268240"/>
              <a:gd name="connsiteX3" fmla="*/ 347124 w 1887486"/>
              <a:gd name="connsiteY3" fmla="*/ 4268240 h 4268240"/>
              <a:gd name="connsiteX4" fmla="*/ 0 w 1887486"/>
              <a:gd name="connsiteY4" fmla="*/ 4268239 h 4268240"/>
              <a:gd name="connsiteX0" fmla="*/ 0 w 1887486"/>
              <a:gd name="connsiteY0" fmla="*/ 4261845 h 4261846"/>
              <a:gd name="connsiteX1" fmla="*/ 1546895 w 1887486"/>
              <a:gd name="connsiteY1" fmla="*/ 0 h 4261846"/>
              <a:gd name="connsiteX2" fmla="*/ 1887486 w 1887486"/>
              <a:gd name="connsiteY2" fmla="*/ 3333 h 4261846"/>
              <a:gd name="connsiteX3" fmla="*/ 347124 w 1887486"/>
              <a:gd name="connsiteY3" fmla="*/ 4261846 h 4261846"/>
              <a:gd name="connsiteX4" fmla="*/ 0 w 1887486"/>
              <a:gd name="connsiteY4" fmla="*/ 4261845 h 4261846"/>
              <a:gd name="connsiteX0" fmla="*/ 0 w 1887486"/>
              <a:gd name="connsiteY0" fmla="*/ 4261845 h 4261846"/>
              <a:gd name="connsiteX1" fmla="*/ 1546895 w 1887486"/>
              <a:gd name="connsiteY1" fmla="*/ 0 h 4261846"/>
              <a:gd name="connsiteX2" fmla="*/ 1887486 w 1887486"/>
              <a:gd name="connsiteY2" fmla="*/ 136 h 4261846"/>
              <a:gd name="connsiteX3" fmla="*/ 347124 w 1887486"/>
              <a:gd name="connsiteY3" fmla="*/ 4261846 h 4261846"/>
              <a:gd name="connsiteX4" fmla="*/ 0 w 1887486"/>
              <a:gd name="connsiteY4" fmla="*/ 4261845 h 4261846"/>
              <a:gd name="connsiteX0" fmla="*/ 0 w 1887486"/>
              <a:gd name="connsiteY0" fmla="*/ 4258648 h 4261846"/>
              <a:gd name="connsiteX1" fmla="*/ 1546895 w 1887486"/>
              <a:gd name="connsiteY1" fmla="*/ 0 h 4261846"/>
              <a:gd name="connsiteX2" fmla="*/ 1887486 w 1887486"/>
              <a:gd name="connsiteY2" fmla="*/ 136 h 4261846"/>
              <a:gd name="connsiteX3" fmla="*/ 347124 w 1887486"/>
              <a:gd name="connsiteY3" fmla="*/ 4261846 h 4261846"/>
              <a:gd name="connsiteX4" fmla="*/ 0 w 1887486"/>
              <a:gd name="connsiteY4" fmla="*/ 4258648 h 4261846"/>
              <a:gd name="connsiteX0" fmla="*/ 0 w 1887486"/>
              <a:gd name="connsiteY0" fmla="*/ 4258648 h 4258649"/>
              <a:gd name="connsiteX1" fmla="*/ 1546895 w 1887486"/>
              <a:gd name="connsiteY1" fmla="*/ 0 h 4258649"/>
              <a:gd name="connsiteX2" fmla="*/ 1887486 w 1887486"/>
              <a:gd name="connsiteY2" fmla="*/ 136 h 4258649"/>
              <a:gd name="connsiteX3" fmla="*/ 347124 w 1887486"/>
              <a:gd name="connsiteY3" fmla="*/ 4258649 h 4258649"/>
              <a:gd name="connsiteX4" fmla="*/ 0 w 1887486"/>
              <a:gd name="connsiteY4" fmla="*/ 4258648 h 4258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486" h="4258649">
                <a:moveTo>
                  <a:pt x="0" y="4258648"/>
                </a:moveTo>
                <a:lnTo>
                  <a:pt x="1546895" y="0"/>
                </a:lnTo>
                <a:lnTo>
                  <a:pt x="1887486" y="136"/>
                </a:lnTo>
                <a:lnTo>
                  <a:pt x="347124" y="4258649"/>
                </a:lnTo>
                <a:lnTo>
                  <a:pt x="0" y="4258648"/>
                </a:lnTo>
                <a:close/>
              </a:path>
            </a:pathLst>
          </a:custGeom>
          <a:solidFill>
            <a:srgbClr val="2FAE7A">
              <a:alpha val="80000"/>
            </a:srgbClr>
          </a:solidFill>
        </p:spPr>
        <p:txBody>
          <a:bodyPr/>
          <a:lstStyle>
            <a:lvl1pPr marL="0" indent="0">
              <a:buNone/>
              <a:defRPr>
                <a:solidFill>
                  <a:schemeClr val="bg1">
                    <a:lumMod val="85000"/>
                  </a:schemeClr>
                </a:solidFill>
              </a:defRPr>
            </a:lvl1pPr>
          </a:lstStyle>
          <a:p>
            <a:r>
              <a:rPr lang="de-DE"/>
              <a:t> </a:t>
            </a:r>
          </a:p>
        </p:txBody>
      </p:sp>
      <p:sp>
        <p:nvSpPr>
          <p:cNvPr id="50" name="Textplatzhalter 2"/>
          <p:cNvSpPr>
            <a:spLocks noGrp="1"/>
          </p:cNvSpPr>
          <p:nvPr>
            <p:ph type="body" sz="quarter" idx="63" hasCustomPrompt="1"/>
          </p:nvPr>
        </p:nvSpPr>
        <p:spPr>
          <a:xfrm rot="17396310">
            <a:off x="8910661" y="3905845"/>
            <a:ext cx="3292859" cy="333842"/>
          </a:xfrm>
        </p:spPr>
        <p:txBody>
          <a:bodyPr anchor="ctr" anchorCtr="0"/>
          <a:lstStyle>
            <a:lvl1pPr marL="0" indent="0">
              <a:buNone/>
              <a:defRPr baseline="0">
                <a:solidFill>
                  <a:schemeClr val="bg1"/>
                </a:solidFill>
              </a:defRPr>
            </a:lvl1pPr>
          </a:lstStyle>
          <a:p>
            <a:pPr lvl="0"/>
            <a:r>
              <a:rPr lang="de-DE"/>
              <a:t>Lore </a:t>
            </a:r>
            <a:r>
              <a:rPr lang="de-DE" err="1"/>
              <a:t>ipsum</a:t>
            </a:r>
            <a:r>
              <a:rPr lang="de-DE"/>
              <a:t> in </a:t>
            </a:r>
            <a:r>
              <a:rPr lang="de-DE" err="1"/>
              <a:t>heritas</a:t>
            </a:r>
            <a:r>
              <a:rPr lang="de-DE"/>
              <a:t> esse </a:t>
            </a:r>
          </a:p>
        </p:txBody>
      </p:sp>
    </p:spTree>
    <p:extLst>
      <p:ext uri="{BB962C8B-B14F-4D97-AF65-F5344CB8AC3E}">
        <p14:creationId xmlns:p14="http://schemas.microsoft.com/office/powerpoint/2010/main" val="42619772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x Content mit Logo">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4EC514ED-3A31-479C-AAA6-1B459998D6C5}"/>
              </a:ext>
            </a:extLst>
          </p:cNvPr>
          <p:cNvSpPr/>
          <p:nvPr userDrawn="1"/>
        </p:nvSpPr>
        <p:spPr>
          <a:xfrm>
            <a:off x="12877139" y="1266151"/>
            <a:ext cx="5077286" cy="5060609"/>
          </a:xfrm>
          <a:custGeom>
            <a:avLst/>
            <a:gdLst/>
            <a:ahLst/>
            <a:cxnLst/>
            <a:rect l="0" t="0" r="0" b="0"/>
            <a:pathLst>
              <a:path w="421073" h="419691">
                <a:moveTo>
                  <a:pt x="75122" y="10338"/>
                </a:moveTo>
                <a:lnTo>
                  <a:pt x="279124" y="10338"/>
                </a:lnTo>
                <a:lnTo>
                  <a:pt x="342530" y="73744"/>
                </a:lnTo>
                <a:lnTo>
                  <a:pt x="10338" y="73744"/>
                </a:lnTo>
                <a:lnTo>
                  <a:pt x="75122" y="10338"/>
                </a:lnTo>
                <a:close/>
                <a:moveTo>
                  <a:pt x="411450" y="142663"/>
                </a:moveTo>
                <a:lnTo>
                  <a:pt x="411450" y="346664"/>
                </a:lnTo>
                <a:lnTo>
                  <a:pt x="346665" y="410070"/>
                </a:lnTo>
                <a:lnTo>
                  <a:pt x="346665" y="77879"/>
                </a:lnTo>
                <a:lnTo>
                  <a:pt x="411450" y="142663"/>
                </a:lnTo>
                <a:close/>
                <a:moveTo>
                  <a:pt x="68230" y="83392"/>
                </a:moveTo>
                <a:lnTo>
                  <a:pt x="219853" y="83392"/>
                </a:lnTo>
                <a:lnTo>
                  <a:pt x="276367" y="139906"/>
                </a:lnTo>
                <a:lnTo>
                  <a:pt x="11716" y="139906"/>
                </a:lnTo>
                <a:lnTo>
                  <a:pt x="68230" y="83392"/>
                </a:lnTo>
                <a:close/>
                <a:moveTo>
                  <a:pt x="338395" y="201934"/>
                </a:moveTo>
                <a:lnTo>
                  <a:pt x="338395" y="353556"/>
                </a:lnTo>
                <a:lnTo>
                  <a:pt x="280503" y="410070"/>
                </a:lnTo>
                <a:lnTo>
                  <a:pt x="280503" y="144041"/>
                </a:lnTo>
                <a:lnTo>
                  <a:pt x="338395" y="201934"/>
                </a:lnTo>
                <a:close/>
                <a:moveTo>
                  <a:pt x="62717" y="149555"/>
                </a:moveTo>
                <a:lnTo>
                  <a:pt x="164718" y="149555"/>
                </a:lnTo>
                <a:lnTo>
                  <a:pt x="215718" y="200555"/>
                </a:lnTo>
                <a:lnTo>
                  <a:pt x="11716" y="200555"/>
                </a:lnTo>
                <a:lnTo>
                  <a:pt x="62717" y="149555"/>
                </a:lnTo>
                <a:close/>
                <a:moveTo>
                  <a:pt x="270854" y="254312"/>
                </a:moveTo>
                <a:lnTo>
                  <a:pt x="270854" y="357691"/>
                </a:lnTo>
                <a:lnTo>
                  <a:pt x="219853" y="410070"/>
                </a:lnTo>
                <a:lnTo>
                  <a:pt x="219853" y="203312"/>
                </a:lnTo>
                <a:lnTo>
                  <a:pt x="270854" y="254312"/>
                </a:lnTo>
                <a:close/>
                <a:moveTo>
                  <a:pt x="50311" y="210204"/>
                </a:moveTo>
                <a:lnTo>
                  <a:pt x="130258" y="210204"/>
                </a:lnTo>
                <a:lnTo>
                  <a:pt x="168853" y="248799"/>
                </a:lnTo>
                <a:lnTo>
                  <a:pt x="11716" y="248799"/>
                </a:lnTo>
                <a:lnTo>
                  <a:pt x="50311" y="210204"/>
                </a:lnTo>
                <a:close/>
                <a:moveTo>
                  <a:pt x="51690" y="259826"/>
                </a:moveTo>
                <a:lnTo>
                  <a:pt x="123366" y="259826"/>
                </a:lnTo>
                <a:lnTo>
                  <a:pt x="161961" y="299799"/>
                </a:lnTo>
                <a:lnTo>
                  <a:pt x="161961" y="371475"/>
                </a:lnTo>
                <a:lnTo>
                  <a:pt x="121988" y="410070"/>
                </a:lnTo>
                <a:lnTo>
                  <a:pt x="50311" y="410070"/>
                </a:lnTo>
                <a:lnTo>
                  <a:pt x="11716" y="371475"/>
                </a:lnTo>
                <a:lnTo>
                  <a:pt x="11716" y="299799"/>
                </a:lnTo>
                <a:lnTo>
                  <a:pt x="51690" y="259826"/>
                </a:lnTo>
                <a:lnTo>
                  <a:pt x="51690" y="259826"/>
                </a:lnTo>
                <a:close/>
                <a:moveTo>
                  <a:pt x="121988" y="299799"/>
                </a:moveTo>
                <a:lnTo>
                  <a:pt x="50311" y="299799"/>
                </a:lnTo>
                <a:lnTo>
                  <a:pt x="50311" y="371475"/>
                </a:lnTo>
                <a:lnTo>
                  <a:pt x="121988" y="371475"/>
                </a:lnTo>
                <a:lnTo>
                  <a:pt x="121988" y="299799"/>
                </a:lnTo>
                <a:close/>
                <a:moveTo>
                  <a:pt x="210205" y="291529"/>
                </a:moveTo>
                <a:lnTo>
                  <a:pt x="210205" y="371475"/>
                </a:lnTo>
                <a:lnTo>
                  <a:pt x="171610" y="410070"/>
                </a:lnTo>
                <a:lnTo>
                  <a:pt x="171610" y="251555"/>
                </a:lnTo>
                <a:lnTo>
                  <a:pt x="210205" y="291529"/>
                </a:lnTo>
              </a:path>
            </a:pathLst>
          </a:custGeom>
          <a:solidFill>
            <a:schemeClr val="bg2">
              <a:lumMod val="95000"/>
              <a:alpha val="58000"/>
            </a:schemeClr>
          </a:solidFill>
          <a:ln w="95100" cap="flat">
            <a:noFill/>
            <a:prstDash val="solid"/>
            <a:miter/>
          </a:ln>
        </p:spPr>
        <p:txBody>
          <a:bodyPr/>
          <a:lstStyle/>
          <a:p>
            <a:endParaRPr lang="de-DE">
              <a:latin typeface="Source Sans Pro" panose="020B0503030403020204" pitchFamily="34" charset="0"/>
            </a:endParaRPr>
          </a:p>
        </p:txBody>
      </p:sp>
      <p:sp>
        <p:nvSpPr>
          <p:cNvPr id="3" name="Inhalt"/>
          <p:cNvSpPr>
            <a:spLocks noGrp="1"/>
          </p:cNvSpPr>
          <p:nvPr>
            <p:ph sz="half" idx="1"/>
          </p:nvPr>
        </p:nvSpPr>
        <p:spPr bwMode="gray">
          <a:xfrm>
            <a:off x="539999" y="1512000"/>
            <a:ext cx="3416400" cy="4298400"/>
          </a:xfrm>
        </p:spPr>
        <p:txBody>
          <a:bodyPr/>
          <a:lstStyle>
            <a:lvl1pPr marL="270000" indent="-270000">
              <a:buClr>
                <a:srgbClr val="2FAE7A"/>
              </a:buClr>
              <a:buFont typeface="Source Sans Pro Black" panose="020B0803030403020204" pitchFamily="34" charset="0"/>
              <a:buChar char="‒"/>
              <a:defRPr sz="1600"/>
            </a:lvl1pPr>
            <a:lvl2pPr>
              <a:defRPr sz="1400"/>
            </a:lvl2pPr>
            <a:lvl3pPr>
              <a:defRPr sz="1200"/>
            </a:lvl3pPr>
            <a:lvl4pPr>
              <a:defRPr sz="1050"/>
            </a:lvl4pPr>
            <a:lvl5pPr>
              <a:defRPr sz="900"/>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0" name="Inhalt">
            <a:extLst>
              <a:ext uri="{FF2B5EF4-FFF2-40B4-BE49-F238E27FC236}">
                <a16:creationId xmlns:a16="http://schemas.microsoft.com/office/drawing/2014/main" id="{A20E4E7F-04AA-43D2-ADE4-262DEB6F9107}"/>
              </a:ext>
            </a:extLst>
          </p:cNvPr>
          <p:cNvSpPr>
            <a:spLocks noGrp="1"/>
          </p:cNvSpPr>
          <p:nvPr>
            <p:ph sz="half" idx="14"/>
          </p:nvPr>
        </p:nvSpPr>
        <p:spPr bwMode="gray">
          <a:xfrm>
            <a:off x="4386600" y="1512000"/>
            <a:ext cx="3416400" cy="4298400"/>
          </a:xfrm>
        </p:spPr>
        <p:txBody>
          <a:bodyPr/>
          <a:lstStyle>
            <a:lvl1pPr marL="270000" indent="-270000">
              <a:buClr>
                <a:srgbClr val="2FAE7A"/>
              </a:buClr>
              <a:buFont typeface="Source Sans Pro Black" panose="020B0803030403020204" pitchFamily="34" charset="0"/>
              <a:buChar char="‒"/>
              <a:defRPr sz="1600"/>
            </a:lvl1pPr>
            <a:lvl2pPr>
              <a:defRPr sz="1400"/>
            </a:lvl2pPr>
            <a:lvl3pPr>
              <a:defRPr sz="1200"/>
            </a:lvl3pPr>
            <a:lvl4pPr>
              <a:defRPr sz="1050"/>
            </a:lvl4pPr>
            <a:lvl5pPr>
              <a:defRPr sz="900"/>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1" name="Inhalt">
            <a:extLst>
              <a:ext uri="{FF2B5EF4-FFF2-40B4-BE49-F238E27FC236}">
                <a16:creationId xmlns:a16="http://schemas.microsoft.com/office/drawing/2014/main" id="{2F336272-664B-4522-9CAC-64252D0E569D}"/>
              </a:ext>
            </a:extLst>
          </p:cNvPr>
          <p:cNvSpPr>
            <a:spLocks noGrp="1"/>
          </p:cNvSpPr>
          <p:nvPr>
            <p:ph sz="half" idx="15"/>
          </p:nvPr>
        </p:nvSpPr>
        <p:spPr bwMode="gray">
          <a:xfrm>
            <a:off x="8233200" y="1512000"/>
            <a:ext cx="3416400" cy="4298400"/>
          </a:xfrm>
        </p:spPr>
        <p:txBody>
          <a:bodyPr/>
          <a:lstStyle>
            <a:lvl1pPr marL="270000" indent="-270000">
              <a:buClr>
                <a:srgbClr val="2FAE7A"/>
              </a:buClr>
              <a:buFont typeface="Source Sans Pro Black" panose="020B0803030403020204" pitchFamily="34" charset="0"/>
              <a:buChar char="‒"/>
              <a:defRPr sz="1600"/>
            </a:lvl1pPr>
            <a:lvl2pPr>
              <a:defRPr sz="1400"/>
            </a:lvl2pPr>
            <a:lvl3pPr>
              <a:defRPr sz="1200"/>
            </a:lvl3pPr>
            <a:lvl4pPr>
              <a:defRPr sz="1050"/>
            </a:lvl4pPr>
            <a:lvl5pPr>
              <a:defRPr sz="900"/>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Titel 3">
            <a:extLst>
              <a:ext uri="{FF2B5EF4-FFF2-40B4-BE49-F238E27FC236}">
                <a16:creationId xmlns:a16="http://schemas.microsoft.com/office/drawing/2014/main" id="{36990AD6-CCC8-402E-9149-93672D98C987}"/>
              </a:ext>
            </a:extLst>
          </p:cNvPr>
          <p:cNvSpPr>
            <a:spLocks noGrp="1"/>
          </p:cNvSpPr>
          <p:nvPr>
            <p:ph type="title" hasCustomPrompt="1"/>
          </p:nvPr>
        </p:nvSpPr>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16"/>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17"/>
          </p:nvPr>
        </p:nvSpPr>
        <p:spPr/>
        <p:txBody>
          <a:bodyPr/>
          <a:lstStyle/>
          <a:p>
            <a:r>
              <a:rPr lang="de-DE" noProof="0"/>
              <a:t>FZI Forschungszentrum Informatik</a:t>
            </a:r>
          </a:p>
        </p:txBody>
      </p:sp>
      <p:sp>
        <p:nvSpPr>
          <p:cNvPr id="9" name="Foliennummernplatzhalter 8"/>
          <p:cNvSpPr>
            <a:spLocks noGrp="1"/>
          </p:cNvSpPr>
          <p:nvPr>
            <p:ph type="sldNum" sz="quarter" idx="18"/>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30891798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und Bild">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BA046B11-12F7-4C2A-8FD0-9FE4A43156B9}"/>
              </a:ext>
            </a:extLst>
          </p:cNvPr>
          <p:cNvSpPr>
            <a:spLocks noGrp="1" noChangeAspect="1"/>
          </p:cNvSpPr>
          <p:nvPr>
            <p:ph type="pic" sz="quarter" idx="15"/>
          </p:nvPr>
        </p:nvSpPr>
        <p:spPr bwMode="gray">
          <a:xfrm>
            <a:off x="6310799" y="1512000"/>
            <a:ext cx="5338800" cy="4298400"/>
          </a:xfrm>
          <a:prstGeom prst="rect">
            <a:avLst/>
          </a:prstGeom>
          <a:solidFill>
            <a:schemeClr val="bg1">
              <a:lumMod val="85000"/>
            </a:schemeClr>
          </a:solidFill>
        </p:spPr>
        <p:txBody>
          <a:bodyPr vert="horz" wrap="square" lIns="180000" tIns="180000" rIns="180000" bIns="180000" rtlCol="0">
            <a:noAutofit/>
          </a:bodyPr>
          <a:lstStyle>
            <a:lvl1pPr>
              <a:defRPr lang="en-US"/>
            </a:lvl1pPr>
          </a:lstStyle>
          <a:p>
            <a:pPr marL="0" lvl="0" indent="0">
              <a:buNone/>
            </a:pPr>
            <a:r>
              <a:rPr lang="de-DE"/>
              <a:t>Bild durch Klicken auf Symbol hinzufügen</a:t>
            </a:r>
            <a:endParaRPr lang="en-US"/>
          </a:p>
        </p:txBody>
      </p:sp>
      <p:sp>
        <p:nvSpPr>
          <p:cNvPr id="3" name="Inhalt"/>
          <p:cNvSpPr>
            <a:spLocks noGrp="1"/>
          </p:cNvSpPr>
          <p:nvPr>
            <p:ph sz="half" idx="1"/>
          </p:nvPr>
        </p:nvSpPr>
        <p:spPr bwMode="gray">
          <a:xfrm>
            <a:off x="539999" y="1512000"/>
            <a:ext cx="5338800" cy="4298400"/>
          </a:xfrm>
        </p:spPr>
        <p:txBody>
          <a:bodyPr/>
          <a:lstStyle>
            <a:lvl1pPr marL="270000" indent="-270000">
              <a:buClr>
                <a:srgbClr val="2FAE7A"/>
              </a:buClr>
              <a:buFont typeface="Source Sans Pro Black" panose="020B0803030403020204" pitchFamily="34" charset="0"/>
              <a:buChar char="‒"/>
              <a:defRPr sz="1600"/>
            </a:lvl1pPr>
            <a:lvl2pPr>
              <a:defRPr sz="1400"/>
            </a:lvl2pPr>
            <a:lvl3pPr>
              <a:defRPr sz="1200"/>
            </a:lvl3pPr>
            <a:lvl4pPr>
              <a:defRPr sz="1050"/>
            </a:lvl4pPr>
            <a:lvl5pPr>
              <a:defRPr sz="900"/>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Titel 3">
            <a:extLst>
              <a:ext uri="{FF2B5EF4-FFF2-40B4-BE49-F238E27FC236}">
                <a16:creationId xmlns:a16="http://schemas.microsoft.com/office/drawing/2014/main" id="{4AD80672-C681-495B-85AD-481F90816A19}"/>
              </a:ext>
            </a:extLst>
          </p:cNvPr>
          <p:cNvSpPr>
            <a:spLocks noGrp="1"/>
          </p:cNvSpPr>
          <p:nvPr>
            <p:ph type="title" hasCustomPrompt="1"/>
          </p:nvPr>
        </p:nvSpPr>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16"/>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17"/>
          </p:nvPr>
        </p:nvSpPr>
        <p:spPr/>
        <p:txBody>
          <a:bodyPr/>
          <a:lstStyle/>
          <a:p>
            <a:r>
              <a:rPr lang="de-DE" noProof="0"/>
              <a:t>FZI Forschungszentrum Informatik</a:t>
            </a:r>
          </a:p>
        </p:txBody>
      </p:sp>
      <p:sp>
        <p:nvSpPr>
          <p:cNvPr id="9" name="Foliennummernplatzhalter 8"/>
          <p:cNvSpPr>
            <a:spLocks noGrp="1"/>
          </p:cNvSpPr>
          <p:nvPr>
            <p:ph type="sldNum" sz="quarter" idx="18"/>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4988696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und 3x Bild">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1236006C-A298-4ACB-8FA1-96F65DDAE92B}"/>
              </a:ext>
            </a:extLst>
          </p:cNvPr>
          <p:cNvSpPr>
            <a:spLocks noGrp="1"/>
          </p:cNvSpPr>
          <p:nvPr>
            <p:ph type="pic" sz="quarter" idx="18"/>
          </p:nvPr>
        </p:nvSpPr>
        <p:spPr bwMode="gray">
          <a:xfrm>
            <a:off x="7799398" y="3445050"/>
            <a:ext cx="3850201" cy="2365200"/>
          </a:xfrm>
          <a:prstGeom prst="rect">
            <a:avLst/>
          </a:prstGeom>
          <a:solidFill>
            <a:schemeClr val="bg1">
              <a:lumMod val="85000"/>
            </a:schemeClr>
          </a:solidFill>
        </p:spPr>
        <p:txBody>
          <a:bodyPr wrap="square" lIns="180000" tIns="180000" rIns="180000" bIns="180000">
            <a:noAutofit/>
          </a:bodyPr>
          <a:lstStyle>
            <a:lvl1pPr marL="0" indent="0">
              <a:buNone/>
              <a:defRPr/>
            </a:lvl1pPr>
          </a:lstStyle>
          <a:p>
            <a:r>
              <a:rPr lang="de-DE" noProof="0"/>
              <a:t>Bild durch Klicken auf Symbol hinzufügen</a:t>
            </a:r>
          </a:p>
        </p:txBody>
      </p:sp>
      <p:sp>
        <p:nvSpPr>
          <p:cNvPr id="3" name="Inhalt"/>
          <p:cNvSpPr>
            <a:spLocks noGrp="1"/>
          </p:cNvSpPr>
          <p:nvPr>
            <p:ph idx="1"/>
          </p:nvPr>
        </p:nvSpPr>
        <p:spPr bwMode="gray">
          <a:xfrm>
            <a:off x="540000" y="1511999"/>
            <a:ext cx="10694057" cy="1576800"/>
          </a:xfrm>
        </p:spPr>
        <p:txBody>
          <a:bodyPr/>
          <a:lstStyle>
            <a:lvl1pPr marL="270000" indent="-270000">
              <a:buClr>
                <a:srgbClr val="2FAE7A"/>
              </a:buClr>
              <a:buFont typeface="Source Sans Pro Black" panose="020B0803030403020204" pitchFamily="34" charset="0"/>
              <a:buChar cha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p:txBody>
      </p:sp>
      <p:sp>
        <p:nvSpPr>
          <p:cNvPr id="10" name="Bild 1"/>
          <p:cNvSpPr>
            <a:spLocks noGrp="1"/>
          </p:cNvSpPr>
          <p:nvPr>
            <p:ph type="pic" sz="quarter" idx="15"/>
          </p:nvPr>
        </p:nvSpPr>
        <p:spPr bwMode="gray">
          <a:xfrm>
            <a:off x="0" y="3445050"/>
            <a:ext cx="3847140" cy="2365200"/>
          </a:xfrm>
          <a:solidFill>
            <a:schemeClr val="bg1">
              <a:lumMod val="85000"/>
            </a:schemeClr>
          </a:solidFill>
        </p:spPr>
        <p:txBody>
          <a:bodyPr lIns="180000" tIns="180000" rIns="180000" bIns="180000"/>
          <a:lstStyle>
            <a:lvl1pPr marL="0" indent="0">
              <a:buNone/>
              <a:defRPr/>
            </a:lvl1pPr>
          </a:lstStyle>
          <a:p>
            <a:r>
              <a:rPr lang="de-DE" noProof="0"/>
              <a:t>Bild durch Klicken auf Symbol hinzufügen</a:t>
            </a:r>
          </a:p>
        </p:txBody>
      </p:sp>
      <p:sp>
        <p:nvSpPr>
          <p:cNvPr id="11" name="Bild 2"/>
          <p:cNvSpPr>
            <a:spLocks noGrp="1"/>
          </p:cNvSpPr>
          <p:nvPr>
            <p:ph type="pic" sz="quarter" idx="16"/>
          </p:nvPr>
        </p:nvSpPr>
        <p:spPr bwMode="gray">
          <a:xfrm>
            <a:off x="3889799" y="3445050"/>
            <a:ext cx="3866941" cy="2365200"/>
          </a:xfrm>
          <a:solidFill>
            <a:schemeClr val="bg1">
              <a:lumMod val="85000"/>
            </a:schemeClr>
          </a:solidFill>
        </p:spPr>
        <p:txBody>
          <a:bodyPr lIns="180000" tIns="180000" rIns="180000" bIns="180000"/>
          <a:lstStyle>
            <a:lvl1pPr marL="0" indent="0">
              <a:buNone/>
              <a:defRPr/>
            </a:lvl1pPr>
          </a:lstStyle>
          <a:p>
            <a:r>
              <a:rPr lang="de-DE" noProof="0"/>
              <a:t>Bild durch Klicken auf Symbol hinzufügen</a:t>
            </a:r>
          </a:p>
        </p:txBody>
      </p:sp>
      <p:sp>
        <p:nvSpPr>
          <p:cNvPr id="7" name="Titel 6">
            <a:extLst>
              <a:ext uri="{FF2B5EF4-FFF2-40B4-BE49-F238E27FC236}">
                <a16:creationId xmlns:a16="http://schemas.microsoft.com/office/drawing/2014/main" id="{C839CC3A-D235-43C7-B2B5-13A182FAF73D}"/>
              </a:ext>
            </a:extLst>
          </p:cNvPr>
          <p:cNvSpPr>
            <a:spLocks noGrp="1"/>
          </p:cNvSpPr>
          <p:nvPr>
            <p:ph type="title" hasCustomPrompt="1"/>
          </p:nvPr>
        </p:nvSpPr>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19"/>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20"/>
          </p:nvPr>
        </p:nvSpPr>
        <p:spPr/>
        <p:txBody>
          <a:bodyPr/>
          <a:lstStyle/>
          <a:p>
            <a:r>
              <a:rPr lang="de-DE" noProof="0"/>
              <a:t>FZI Forschungszentrum Informatik</a:t>
            </a:r>
          </a:p>
        </p:txBody>
      </p:sp>
      <p:sp>
        <p:nvSpPr>
          <p:cNvPr id="9" name="Foliennummernplatzhalter 8"/>
          <p:cNvSpPr>
            <a:spLocks noGrp="1"/>
          </p:cNvSpPr>
          <p:nvPr>
            <p:ph type="sldNum" sz="quarter" idx="21"/>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3412082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und Text">
    <p:spTree>
      <p:nvGrpSpPr>
        <p:cNvPr id="1" name=""/>
        <p:cNvGrpSpPr/>
        <p:nvPr/>
      </p:nvGrpSpPr>
      <p:grpSpPr>
        <a:xfrm>
          <a:off x="0" y="0"/>
          <a:ext cx="0" cy="0"/>
          <a:chOff x="0" y="0"/>
          <a:chExt cx="0" cy="0"/>
        </a:xfrm>
      </p:grpSpPr>
      <p:sp>
        <p:nvSpPr>
          <p:cNvPr id="3" name="Inhalt"/>
          <p:cNvSpPr>
            <a:spLocks noGrp="1"/>
          </p:cNvSpPr>
          <p:nvPr>
            <p:ph sz="half" idx="1"/>
          </p:nvPr>
        </p:nvSpPr>
        <p:spPr bwMode="gray">
          <a:xfrm>
            <a:off x="539998" y="1512000"/>
            <a:ext cx="7433123" cy="4298400"/>
          </a:xfrm>
        </p:spPr>
        <p:txBody>
          <a:bodyPr/>
          <a:lstStyle>
            <a:lvl1pPr marL="270000" indent="-270000">
              <a:buClr>
                <a:srgbClr val="2FAE7A"/>
              </a:buClr>
              <a:buFont typeface="Source Sans Pro Black" panose="020B0803030403020204" pitchFamily="34" charset="0"/>
              <a:buChar char="‒"/>
              <a:defRPr sz="1600"/>
            </a:lvl1pPr>
            <a:lvl2pPr>
              <a:defRPr sz="1400"/>
            </a:lvl2pPr>
            <a:lvl3pPr>
              <a:defRPr sz="1200"/>
            </a:lvl3pPr>
            <a:lvl4pPr>
              <a:defRPr sz="1050"/>
            </a:lvl4pPr>
            <a:lvl5pPr>
              <a:defRPr sz="900"/>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4" name="Inhaltsplatzhalter 13">
            <a:extLst>
              <a:ext uri="{FF2B5EF4-FFF2-40B4-BE49-F238E27FC236}">
                <a16:creationId xmlns:a16="http://schemas.microsoft.com/office/drawing/2014/main" id="{94C08A33-D029-4358-B89E-2B6F0914B9E6}"/>
              </a:ext>
            </a:extLst>
          </p:cNvPr>
          <p:cNvSpPr>
            <a:spLocks noGrp="1"/>
          </p:cNvSpPr>
          <p:nvPr>
            <p:ph sz="quarter" idx="14" hasCustomPrompt="1"/>
          </p:nvPr>
        </p:nvSpPr>
        <p:spPr>
          <a:xfrm>
            <a:off x="8254800" y="0"/>
            <a:ext cx="3935613" cy="6858000"/>
          </a:xfrm>
          <a:solidFill>
            <a:srgbClr val="2FAE7A"/>
          </a:solidFill>
        </p:spPr>
        <p:txBody>
          <a:bodyPr vert="horz" lIns="540000" tIns="1512000" rIns="540000" bIns="1080000" rtlCol="0">
            <a:noAutofit/>
          </a:bodyPr>
          <a:lstStyle>
            <a:lvl1pPr marL="0" indent="0">
              <a:buClr>
                <a:schemeClr val="bg1"/>
              </a:buClr>
              <a:buNone/>
              <a:defRPr lang="de-DE" b="0" smtClean="0">
                <a:solidFill>
                  <a:schemeClr val="bg1"/>
                </a:solidFill>
                <a:latin typeface="Source Sans Pro" panose="020B0503030403020204" pitchFamily="34" charset="0"/>
              </a:defRPr>
            </a:lvl1pPr>
            <a:lvl2pPr>
              <a:buClr>
                <a:schemeClr val="bg1"/>
              </a:buClr>
              <a:defRPr lang="de-DE" smtClean="0">
                <a:solidFill>
                  <a:schemeClr val="bg1"/>
                </a:solidFill>
              </a:defRPr>
            </a:lvl2pPr>
            <a:lvl3pPr>
              <a:buClr>
                <a:schemeClr val="bg1"/>
              </a:buClr>
              <a:defRPr lang="de-DE" smtClean="0">
                <a:solidFill>
                  <a:schemeClr val="bg1"/>
                </a:solidFill>
              </a:defRPr>
            </a:lvl3pPr>
            <a:lvl4pPr>
              <a:buClr>
                <a:schemeClr val="bg1"/>
              </a:buClr>
              <a:defRPr lang="de-DE" smtClean="0">
                <a:solidFill>
                  <a:schemeClr val="bg1"/>
                </a:solidFill>
              </a:defRPr>
            </a:lvl4pPr>
            <a:lvl5pPr>
              <a:buClr>
                <a:schemeClr val="bg1"/>
              </a:buClr>
              <a:defRPr lang="de-DE">
                <a:solidFill>
                  <a:schemeClr val="bg1"/>
                </a:solidFill>
              </a:defRPr>
            </a:lvl5pPr>
          </a:lstStyle>
          <a:p>
            <a:pPr marL="270000" lvl="0" indent="-27000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C8EB8875-62DB-4754-AE1F-261143CFDD08}"/>
              </a:ext>
            </a:extLst>
          </p:cNvPr>
          <p:cNvSpPr>
            <a:spLocks noGrp="1"/>
          </p:cNvSpPr>
          <p:nvPr>
            <p:ph type="title" hasCustomPrompt="1"/>
          </p:nvPr>
        </p:nvSpPr>
        <p:spPr>
          <a:xfrm>
            <a:off x="540000" y="432000"/>
            <a:ext cx="7433122" cy="1080000"/>
          </a:xfrm>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15"/>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16"/>
          </p:nvPr>
        </p:nvSpPr>
        <p:spPr/>
        <p:txBody>
          <a:bodyPr/>
          <a:lstStyle/>
          <a:p>
            <a:r>
              <a:rPr lang="de-DE" noProof="0"/>
              <a:t>FZI Forschungszentrum Informatik</a:t>
            </a:r>
          </a:p>
        </p:txBody>
      </p:sp>
      <p:sp>
        <p:nvSpPr>
          <p:cNvPr id="9" name="Foliennummernplatzhalter 8"/>
          <p:cNvSpPr>
            <a:spLocks noGrp="1"/>
          </p:cNvSpPr>
          <p:nvPr>
            <p:ph type="sldNum" sz="quarter" idx="17"/>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12990355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x Content und Text">
    <p:spTree>
      <p:nvGrpSpPr>
        <p:cNvPr id="1" name=""/>
        <p:cNvGrpSpPr/>
        <p:nvPr/>
      </p:nvGrpSpPr>
      <p:grpSpPr>
        <a:xfrm>
          <a:off x="0" y="0"/>
          <a:ext cx="0" cy="0"/>
          <a:chOff x="0" y="0"/>
          <a:chExt cx="0" cy="0"/>
        </a:xfrm>
      </p:grpSpPr>
      <p:sp>
        <p:nvSpPr>
          <p:cNvPr id="23" name="Inhaltsplatzhalter 22">
            <a:extLst>
              <a:ext uri="{FF2B5EF4-FFF2-40B4-BE49-F238E27FC236}">
                <a16:creationId xmlns:a16="http://schemas.microsoft.com/office/drawing/2014/main" id="{275CD6C5-6A51-4F33-B3F0-5F4EA27F35B5}"/>
              </a:ext>
            </a:extLst>
          </p:cNvPr>
          <p:cNvSpPr>
            <a:spLocks noGrp="1"/>
          </p:cNvSpPr>
          <p:nvPr>
            <p:ph sz="quarter" idx="15"/>
          </p:nvPr>
        </p:nvSpPr>
        <p:spPr bwMode="gray">
          <a:xfrm>
            <a:off x="4149726" y="1512000"/>
            <a:ext cx="7500937" cy="1332000"/>
          </a:xfrm>
          <a:prstGeom prst="rect">
            <a:avLst/>
          </a:prstGeom>
          <a:solidFill>
            <a:schemeClr val="bg1">
              <a:lumMod val="95000"/>
            </a:schemeClr>
          </a:solidFill>
        </p:spPr>
        <p:txBody>
          <a:bodyPr vert="horz" wrap="square" lIns="180000" tIns="180000" rIns="180000" bIns="180000" rtlCol="0" anchor="ctr">
            <a:noAutofit/>
          </a:bodyPr>
          <a:lstStyle>
            <a:lvl1pPr>
              <a:defRPr lang="de-DE" sz="1400" dirty="0" smtClean="0">
                <a:solidFill>
                  <a:schemeClr val="tx2">
                    <a:lumMod val="75000"/>
                  </a:schemeClr>
                </a:solidFill>
              </a:defRPr>
            </a:lvl1pPr>
            <a:lvl2pPr>
              <a:defRPr lang="de-DE" sz="1200" dirty="0" smtClean="0">
                <a:solidFill>
                  <a:schemeClr val="tx2">
                    <a:lumMod val="75000"/>
                  </a:schemeClr>
                </a:solidFill>
              </a:defRPr>
            </a:lvl2pPr>
            <a:lvl3pPr>
              <a:defRPr lang="de-DE" sz="1050" dirty="0" smtClean="0">
                <a:solidFill>
                  <a:schemeClr val="tx2">
                    <a:lumMod val="75000"/>
                  </a:schemeClr>
                </a:solidFill>
              </a:defRPr>
            </a:lvl3pPr>
          </a:lstStyle>
          <a:p>
            <a:pPr marL="270000" lvl="0" indent="-270000"/>
            <a:r>
              <a:rPr lang="de-DE"/>
              <a:t>Formatvorlagen des Textmasters bearbeiten</a:t>
            </a:r>
          </a:p>
          <a:p>
            <a:pPr marL="270000" lvl="1" indent="-270000"/>
            <a:r>
              <a:rPr lang="de-DE"/>
              <a:t>Zweite Ebene</a:t>
            </a:r>
          </a:p>
          <a:p>
            <a:pPr marL="270000" lvl="2" indent="-270000"/>
            <a:r>
              <a:rPr lang="de-DE"/>
              <a:t>Dritte Ebene</a:t>
            </a:r>
          </a:p>
        </p:txBody>
      </p:sp>
      <p:sp>
        <p:nvSpPr>
          <p:cNvPr id="14" name="Textplatzhalter 13">
            <a:extLst>
              <a:ext uri="{FF2B5EF4-FFF2-40B4-BE49-F238E27FC236}">
                <a16:creationId xmlns:a16="http://schemas.microsoft.com/office/drawing/2014/main" id="{62B69BA6-8A8C-470B-945E-EEF27E2CE5AB}"/>
              </a:ext>
            </a:extLst>
          </p:cNvPr>
          <p:cNvSpPr>
            <a:spLocks noGrp="1"/>
          </p:cNvSpPr>
          <p:nvPr>
            <p:ph type="body" sz="quarter" idx="16" hasCustomPrompt="1"/>
          </p:nvPr>
        </p:nvSpPr>
        <p:spPr>
          <a:xfrm>
            <a:off x="541337" y="1512000"/>
            <a:ext cx="3608388" cy="1332000"/>
          </a:xfrm>
          <a:solidFill>
            <a:srgbClr val="2FAE7A"/>
          </a:solidFill>
        </p:spPr>
        <p:txBody>
          <a:bodyPr vert="horz" lIns="180000" tIns="180000" rIns="180000" bIns="180000" rtlCol="0" anchor="ctr">
            <a:noAutofit/>
          </a:bodyPr>
          <a:lstStyle>
            <a:lvl1pPr marL="0" indent="0">
              <a:buClr>
                <a:schemeClr val="bg1"/>
              </a:buClr>
              <a:buNone/>
              <a:defRPr lang="de-DE" b="1" dirty="0">
                <a:solidFill>
                  <a:schemeClr val="bg1"/>
                </a:solidFill>
                <a:latin typeface="Source Sans Pro" panose="020B0503030403020204" pitchFamily="34" charset="0"/>
              </a:defRPr>
            </a:lvl1pPr>
          </a:lstStyle>
          <a:p>
            <a:pPr marL="270000" lvl="0" indent="-270000"/>
            <a:r>
              <a:rPr lang="de-DE"/>
              <a:t>Textmasterformat bearbeiten</a:t>
            </a:r>
          </a:p>
        </p:txBody>
      </p:sp>
      <p:sp>
        <p:nvSpPr>
          <p:cNvPr id="15" name="Inhaltsplatzhalter 11">
            <a:extLst>
              <a:ext uri="{FF2B5EF4-FFF2-40B4-BE49-F238E27FC236}">
                <a16:creationId xmlns:a16="http://schemas.microsoft.com/office/drawing/2014/main" id="{693AD8DA-6968-4544-A95A-F07B2AD46D01}"/>
              </a:ext>
            </a:extLst>
          </p:cNvPr>
          <p:cNvSpPr>
            <a:spLocks noGrp="1"/>
          </p:cNvSpPr>
          <p:nvPr>
            <p:ph sz="quarter" idx="17"/>
          </p:nvPr>
        </p:nvSpPr>
        <p:spPr>
          <a:xfrm>
            <a:off x="4149726" y="2995125"/>
            <a:ext cx="7500937" cy="1332000"/>
          </a:xfrm>
          <a:solidFill>
            <a:schemeClr val="bg1">
              <a:lumMod val="95000"/>
            </a:schemeClr>
          </a:solidFill>
        </p:spPr>
        <p:txBody>
          <a:bodyPr vert="horz" lIns="180000" tIns="180000" rIns="180000" bIns="180000" rtlCol="0" anchor="ctr">
            <a:noAutofit/>
          </a:bodyPr>
          <a:lstStyle>
            <a:lvl1pPr>
              <a:defRPr lang="de-DE" sz="1400" dirty="0" smtClean="0">
                <a:solidFill>
                  <a:schemeClr val="tx2">
                    <a:lumMod val="75000"/>
                  </a:schemeClr>
                </a:solidFill>
              </a:defRPr>
            </a:lvl1pPr>
            <a:lvl2pPr>
              <a:defRPr lang="de-DE" sz="1200" dirty="0" smtClean="0">
                <a:solidFill>
                  <a:schemeClr val="tx2">
                    <a:lumMod val="75000"/>
                  </a:schemeClr>
                </a:solidFill>
              </a:defRPr>
            </a:lvl2pPr>
            <a:lvl3pPr>
              <a:defRPr lang="de-DE" sz="1050" dirty="0" smtClean="0">
                <a:solidFill>
                  <a:schemeClr val="tx2">
                    <a:lumMod val="75000"/>
                  </a:schemeClr>
                </a:solidFill>
              </a:defRPr>
            </a:lvl3pPr>
          </a:lstStyle>
          <a:p>
            <a:pPr marL="270000" lvl="0" indent="-270000"/>
            <a:r>
              <a:rPr lang="de-DE"/>
              <a:t>Formatvorlagen des Textmasters bearbeiten</a:t>
            </a:r>
          </a:p>
          <a:p>
            <a:pPr marL="270000" lvl="1" indent="-270000"/>
            <a:r>
              <a:rPr lang="de-DE"/>
              <a:t>Zweite Ebene</a:t>
            </a:r>
          </a:p>
          <a:p>
            <a:pPr marL="270000" lvl="2" indent="-270000"/>
            <a:r>
              <a:rPr lang="de-DE"/>
              <a:t>Dritte Ebene</a:t>
            </a:r>
          </a:p>
        </p:txBody>
      </p:sp>
      <p:sp>
        <p:nvSpPr>
          <p:cNvPr id="16" name="Textplatzhalter 13">
            <a:extLst>
              <a:ext uri="{FF2B5EF4-FFF2-40B4-BE49-F238E27FC236}">
                <a16:creationId xmlns:a16="http://schemas.microsoft.com/office/drawing/2014/main" id="{81225E18-ECC5-4E95-9D0F-561150419540}"/>
              </a:ext>
            </a:extLst>
          </p:cNvPr>
          <p:cNvSpPr>
            <a:spLocks noGrp="1"/>
          </p:cNvSpPr>
          <p:nvPr>
            <p:ph type="body" sz="quarter" idx="18" hasCustomPrompt="1"/>
          </p:nvPr>
        </p:nvSpPr>
        <p:spPr>
          <a:xfrm>
            <a:off x="541337" y="2995125"/>
            <a:ext cx="3608388" cy="1332000"/>
          </a:xfrm>
          <a:solidFill>
            <a:srgbClr val="2FAE7A"/>
          </a:solidFill>
        </p:spPr>
        <p:txBody>
          <a:bodyPr vert="horz" lIns="180000" tIns="180000" rIns="180000" bIns="180000" rtlCol="0" anchor="ctr">
            <a:noAutofit/>
          </a:bodyPr>
          <a:lstStyle>
            <a:lvl1pPr marL="0" indent="0">
              <a:buClr>
                <a:schemeClr val="bg1"/>
              </a:buClr>
              <a:buNone/>
              <a:defRPr lang="de-DE" b="1" dirty="0">
                <a:solidFill>
                  <a:schemeClr val="bg1"/>
                </a:solidFill>
                <a:latin typeface="Source Sans Pro" panose="020B0503030403020204" pitchFamily="34" charset="0"/>
              </a:defRPr>
            </a:lvl1pPr>
          </a:lstStyle>
          <a:p>
            <a:pPr marL="270000" lvl="0" indent="-270000"/>
            <a:r>
              <a:rPr lang="de-DE"/>
              <a:t>Textmasterformat bearbeiten</a:t>
            </a:r>
          </a:p>
        </p:txBody>
      </p:sp>
      <p:sp>
        <p:nvSpPr>
          <p:cNvPr id="17" name="Inhaltsplatzhalter 11">
            <a:extLst>
              <a:ext uri="{FF2B5EF4-FFF2-40B4-BE49-F238E27FC236}">
                <a16:creationId xmlns:a16="http://schemas.microsoft.com/office/drawing/2014/main" id="{89B80132-BD5A-429C-93A7-AEB32DDBEF15}"/>
              </a:ext>
            </a:extLst>
          </p:cNvPr>
          <p:cNvSpPr>
            <a:spLocks noGrp="1"/>
          </p:cNvSpPr>
          <p:nvPr>
            <p:ph sz="quarter" idx="19"/>
          </p:nvPr>
        </p:nvSpPr>
        <p:spPr>
          <a:xfrm>
            <a:off x="4149726" y="4478250"/>
            <a:ext cx="7500937" cy="1332000"/>
          </a:xfrm>
          <a:solidFill>
            <a:schemeClr val="bg1">
              <a:lumMod val="95000"/>
            </a:schemeClr>
          </a:solidFill>
        </p:spPr>
        <p:txBody>
          <a:bodyPr vert="horz" lIns="180000" tIns="180000" rIns="180000" bIns="180000" rtlCol="0" anchor="ctr">
            <a:noAutofit/>
          </a:bodyPr>
          <a:lstStyle>
            <a:lvl1pPr>
              <a:defRPr lang="de-DE" sz="1400" dirty="0" smtClean="0">
                <a:solidFill>
                  <a:schemeClr val="tx2">
                    <a:lumMod val="75000"/>
                  </a:schemeClr>
                </a:solidFill>
              </a:defRPr>
            </a:lvl1pPr>
            <a:lvl2pPr>
              <a:defRPr lang="de-DE" sz="1200" dirty="0" smtClean="0">
                <a:solidFill>
                  <a:schemeClr val="tx2">
                    <a:lumMod val="75000"/>
                  </a:schemeClr>
                </a:solidFill>
              </a:defRPr>
            </a:lvl2pPr>
            <a:lvl3pPr>
              <a:defRPr lang="de-DE" sz="1050" dirty="0" smtClean="0">
                <a:solidFill>
                  <a:schemeClr val="tx2">
                    <a:lumMod val="75000"/>
                  </a:schemeClr>
                </a:solidFill>
              </a:defRPr>
            </a:lvl3pPr>
          </a:lstStyle>
          <a:p>
            <a:pPr marL="270000" lvl="0" indent="-270000"/>
            <a:r>
              <a:rPr lang="de-DE"/>
              <a:t>Formatvorlagen des Textmasters bearbeiten</a:t>
            </a:r>
          </a:p>
          <a:p>
            <a:pPr marL="270000" lvl="1" indent="-270000"/>
            <a:r>
              <a:rPr lang="de-DE"/>
              <a:t>Zweite Ebene</a:t>
            </a:r>
          </a:p>
          <a:p>
            <a:pPr marL="270000" lvl="2" indent="-270000"/>
            <a:r>
              <a:rPr lang="de-DE"/>
              <a:t>Dritte Ebene</a:t>
            </a:r>
          </a:p>
        </p:txBody>
      </p:sp>
      <p:sp>
        <p:nvSpPr>
          <p:cNvPr id="18" name="Textplatzhalter 13">
            <a:extLst>
              <a:ext uri="{FF2B5EF4-FFF2-40B4-BE49-F238E27FC236}">
                <a16:creationId xmlns:a16="http://schemas.microsoft.com/office/drawing/2014/main" id="{2B8B6A5E-BEB4-495A-BF45-44CD1BAC3020}"/>
              </a:ext>
            </a:extLst>
          </p:cNvPr>
          <p:cNvSpPr>
            <a:spLocks noGrp="1"/>
          </p:cNvSpPr>
          <p:nvPr>
            <p:ph type="body" sz="quarter" idx="20" hasCustomPrompt="1"/>
          </p:nvPr>
        </p:nvSpPr>
        <p:spPr>
          <a:xfrm>
            <a:off x="541337" y="4478250"/>
            <a:ext cx="3608388" cy="1332000"/>
          </a:xfrm>
          <a:solidFill>
            <a:srgbClr val="2FAE7A"/>
          </a:solidFill>
        </p:spPr>
        <p:txBody>
          <a:bodyPr vert="horz" lIns="180000" tIns="180000" rIns="180000" bIns="180000" rtlCol="0" anchor="ctr">
            <a:noAutofit/>
          </a:bodyPr>
          <a:lstStyle>
            <a:lvl1pPr marL="0" indent="0">
              <a:buClr>
                <a:schemeClr val="bg1"/>
              </a:buClr>
              <a:buNone/>
              <a:defRPr lang="de-DE" b="1" dirty="0">
                <a:solidFill>
                  <a:schemeClr val="bg1"/>
                </a:solidFill>
                <a:latin typeface="Source Sans Pro" panose="020B0503030403020204" pitchFamily="34" charset="0"/>
              </a:defRPr>
            </a:lvl1pPr>
          </a:lstStyle>
          <a:p>
            <a:pPr marL="270000" lvl="0" indent="-270000"/>
            <a:r>
              <a:rPr lang="de-DE"/>
              <a:t>Textmasterformat bearbeiten</a:t>
            </a:r>
          </a:p>
        </p:txBody>
      </p:sp>
      <p:sp>
        <p:nvSpPr>
          <p:cNvPr id="3" name="Titel 2">
            <a:extLst>
              <a:ext uri="{FF2B5EF4-FFF2-40B4-BE49-F238E27FC236}">
                <a16:creationId xmlns:a16="http://schemas.microsoft.com/office/drawing/2014/main" id="{32EF33E8-C9A3-4C1B-AF43-F76A585CE091}"/>
              </a:ext>
            </a:extLst>
          </p:cNvPr>
          <p:cNvSpPr>
            <a:spLocks noGrp="1"/>
          </p:cNvSpPr>
          <p:nvPr>
            <p:ph type="title" hasCustomPrompt="1"/>
          </p:nvPr>
        </p:nvSpPr>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21"/>
          </p:nvPr>
        </p:nvSpPr>
        <p:spPr/>
        <p:txBody>
          <a:bodyPr/>
          <a:lstStyle/>
          <a:p>
            <a:fld id="{4680A733-F83D-4D19-AF27-7B0B870C8599}" type="datetime1">
              <a:rPr lang="de-DE" noProof="0" smtClean="0"/>
              <a:t>15.01.2025</a:t>
            </a:fld>
            <a:endParaRPr lang="de-DE" noProof="0"/>
          </a:p>
        </p:txBody>
      </p:sp>
      <p:sp>
        <p:nvSpPr>
          <p:cNvPr id="4" name="Fußzeilenplatzhalter 3"/>
          <p:cNvSpPr>
            <a:spLocks noGrp="1"/>
          </p:cNvSpPr>
          <p:nvPr>
            <p:ph type="ftr" sz="quarter" idx="22"/>
          </p:nvPr>
        </p:nvSpPr>
        <p:spPr/>
        <p:txBody>
          <a:bodyPr/>
          <a:lstStyle/>
          <a:p>
            <a:r>
              <a:rPr lang="de-DE" noProof="0"/>
              <a:t>FZI Forschungszentrum Informatik</a:t>
            </a:r>
          </a:p>
        </p:txBody>
      </p:sp>
      <p:sp>
        <p:nvSpPr>
          <p:cNvPr id="8" name="Foliennummernplatzhalter 7"/>
          <p:cNvSpPr>
            <a:spLocks noGrp="1"/>
          </p:cNvSpPr>
          <p:nvPr>
            <p:ph type="sldNum" sz="quarter" idx="23"/>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32049269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x Boxen">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71A138AD-E923-4337-8B25-D8DB2BEA1F72}"/>
              </a:ext>
            </a:extLst>
          </p:cNvPr>
          <p:cNvSpPr>
            <a:spLocks noGrp="1"/>
          </p:cNvSpPr>
          <p:nvPr>
            <p:ph type="body" sz="quarter" idx="14"/>
          </p:nvPr>
        </p:nvSpPr>
        <p:spPr>
          <a:xfrm>
            <a:off x="540000" y="2088133"/>
            <a:ext cx="3600000" cy="1717200"/>
          </a:xfrm>
          <a:solidFill>
            <a:schemeClr val="bg1">
              <a:lumMod val="95000"/>
            </a:schemeClr>
          </a:solidFill>
        </p:spPr>
        <p:txBody>
          <a:bodyPr vert="horz" lIns="180000" tIns="180000" rIns="180000" bIns="180000" rtlCol="0">
            <a:noAutofit/>
          </a:bodyPr>
          <a:lstStyle>
            <a:lvl1pPr marL="285750" indent="-285750">
              <a:buFont typeface="Source Sans Pro Black" panose="020B0803030403020204" pitchFamily="34" charset="0"/>
              <a:buChar char="‒"/>
              <a:defRPr lang="de-DE" sz="1400" smtClean="0">
                <a:solidFill>
                  <a:schemeClr val="tx2">
                    <a:lumMod val="75000"/>
                  </a:schemeClr>
                </a:solidFill>
              </a:defRPr>
            </a:lvl1pPr>
            <a:lvl2pPr>
              <a:defRPr lang="de-DE" sz="1400" smtClean="0">
                <a:solidFill>
                  <a:schemeClr val="tx2">
                    <a:lumMod val="75000"/>
                  </a:schemeClr>
                </a:solidFill>
              </a:defRPr>
            </a:lvl2pPr>
            <a:lvl3pPr marL="810000" indent="0">
              <a:buNone/>
              <a:defRPr lang="de-DE" sz="1400" smtClean="0">
                <a:solidFill>
                  <a:schemeClr val="tx1"/>
                </a:solidFill>
              </a:defRPr>
            </a:lvl3pPr>
            <a:lvl4pPr>
              <a:defRPr lang="de-DE" sz="1200" smtClean="0">
                <a:solidFill>
                  <a:schemeClr val="tx1"/>
                </a:solidFill>
              </a:defRPr>
            </a:lvl4pPr>
            <a:lvl5pPr>
              <a:defRPr lang="de-DE" sz="1200">
                <a:solidFill>
                  <a:schemeClr val="tx1"/>
                </a:solidFill>
              </a:defRPr>
            </a:lvl5pPr>
          </a:lstStyle>
          <a:p>
            <a:pPr lvl="0"/>
            <a:r>
              <a:rPr lang="de-DE"/>
              <a:t>Formatvorlagen des Textmasters bearbeiten</a:t>
            </a:r>
          </a:p>
        </p:txBody>
      </p:sp>
      <p:sp>
        <p:nvSpPr>
          <p:cNvPr id="12" name="Textplatzhalter 11">
            <a:extLst>
              <a:ext uri="{FF2B5EF4-FFF2-40B4-BE49-F238E27FC236}">
                <a16:creationId xmlns:a16="http://schemas.microsoft.com/office/drawing/2014/main" id="{C1D9B0E1-45AD-467A-8DC4-A08A9476E96E}"/>
              </a:ext>
            </a:extLst>
          </p:cNvPr>
          <p:cNvSpPr>
            <a:spLocks noGrp="1"/>
          </p:cNvSpPr>
          <p:nvPr>
            <p:ph type="body" sz="quarter" idx="15" hasCustomPrompt="1"/>
          </p:nvPr>
        </p:nvSpPr>
        <p:spPr>
          <a:xfrm>
            <a:off x="540000" y="1728133"/>
            <a:ext cx="3600000" cy="360000"/>
          </a:xfrm>
          <a:solidFill>
            <a:srgbClr val="2FAE7A"/>
          </a:solidFill>
        </p:spPr>
        <p:txBody>
          <a:bodyPr vert="horz" lIns="180000" tIns="180000" rIns="180000" bIns="180000" rtlCol="0" anchor="ctr">
            <a:noAutofit/>
          </a:bodyPr>
          <a:lstStyle>
            <a:lvl1pPr marL="0" indent="0">
              <a:buClr>
                <a:schemeClr val="bg1"/>
              </a:buClr>
              <a:buFont typeface="Wingdings" panose="05000000000000000000" pitchFamily="2" charset="2"/>
              <a:buNone/>
              <a:defRPr lang="de-DE" sz="1600" b="1" dirty="0">
                <a:solidFill>
                  <a:schemeClr val="bg1"/>
                </a:solidFill>
                <a:latin typeface="Source Sans Pro" panose="020B0503030403020204" pitchFamily="34" charset="0"/>
              </a:defRPr>
            </a:lvl1pPr>
          </a:lstStyle>
          <a:p>
            <a:pPr marL="270000" lvl="0" indent="-270000"/>
            <a:r>
              <a:rPr lang="de-DE"/>
              <a:t>Textmasterformat</a:t>
            </a:r>
          </a:p>
        </p:txBody>
      </p:sp>
      <p:sp>
        <p:nvSpPr>
          <p:cNvPr id="13" name="Textplatzhalter 3">
            <a:extLst>
              <a:ext uri="{FF2B5EF4-FFF2-40B4-BE49-F238E27FC236}">
                <a16:creationId xmlns:a16="http://schemas.microsoft.com/office/drawing/2014/main" id="{B1015E1F-A675-46E9-9DC6-C855627780EE}"/>
              </a:ext>
            </a:extLst>
          </p:cNvPr>
          <p:cNvSpPr>
            <a:spLocks noGrp="1"/>
          </p:cNvSpPr>
          <p:nvPr>
            <p:ph type="body" sz="quarter" idx="16"/>
          </p:nvPr>
        </p:nvSpPr>
        <p:spPr>
          <a:xfrm>
            <a:off x="4292950" y="2088133"/>
            <a:ext cx="3600000" cy="1717200"/>
          </a:xfrm>
          <a:solidFill>
            <a:schemeClr val="bg1">
              <a:lumMod val="95000"/>
            </a:schemeClr>
          </a:solidFill>
        </p:spPr>
        <p:txBody>
          <a:bodyPr vert="horz" lIns="180000" tIns="180000" rIns="180000" bIns="180000" rtlCol="0">
            <a:noAutofit/>
          </a:bodyPr>
          <a:lstStyle>
            <a:lvl1pPr marL="270000" indent="-270000">
              <a:buClr>
                <a:srgbClr val="2FAE7A"/>
              </a:buClr>
              <a:buFont typeface="Source Sans Pro Black" panose="020B0803030403020204" pitchFamily="34" charset="0"/>
              <a:buChar char="‒"/>
              <a:defRPr lang="de-DE" sz="1400" kern="1200" dirty="0">
                <a:solidFill>
                  <a:schemeClr val="tx2">
                    <a:lumMod val="75000"/>
                  </a:schemeClr>
                </a:solidFill>
                <a:latin typeface="Source Sans Pro" panose="020B0503030403020204" pitchFamily="34" charset="0"/>
                <a:ea typeface="+mn-ea"/>
                <a:cs typeface="+mn-cs"/>
              </a:defRPr>
            </a:lvl1pPr>
            <a:lvl2pPr>
              <a:defRPr lang="de-DE" sz="1400" smtClean="0">
                <a:solidFill>
                  <a:schemeClr val="tx2">
                    <a:lumMod val="75000"/>
                  </a:schemeClr>
                </a:solidFill>
              </a:defRPr>
            </a:lvl2pPr>
            <a:lvl3pPr marL="810000" indent="0">
              <a:buNone/>
              <a:defRPr lang="de-DE" sz="1400" smtClean="0">
                <a:solidFill>
                  <a:schemeClr val="tx1"/>
                </a:solidFill>
              </a:defRPr>
            </a:lvl3pPr>
            <a:lvl4pPr>
              <a:defRPr lang="de-DE" sz="1200" smtClean="0">
                <a:solidFill>
                  <a:schemeClr val="tx1"/>
                </a:solidFill>
              </a:defRPr>
            </a:lvl4pPr>
            <a:lvl5pPr>
              <a:defRPr lang="de-DE" sz="1200">
                <a:solidFill>
                  <a:schemeClr val="tx1"/>
                </a:solidFill>
              </a:defRPr>
            </a:lvl5pPr>
          </a:lstStyle>
          <a:p>
            <a:pPr marL="270000" lvl="0" indent="-270000" algn="l" defTabSz="914400" rtl="0" eaLnBrk="1" latinLnBrk="0" hangingPunct="1">
              <a:lnSpc>
                <a:spcPct val="110000"/>
              </a:lnSpc>
              <a:spcBef>
                <a:spcPts val="0"/>
              </a:spcBef>
              <a:spcAft>
                <a:spcPts val="1000"/>
              </a:spcAft>
              <a:buClr>
                <a:schemeClr val="tx2">
                  <a:lumMod val="75000"/>
                </a:schemeClr>
              </a:buClr>
            </a:pPr>
            <a:r>
              <a:rPr lang="de-DE"/>
              <a:t>Formatvorlagen des Textmasters bearbeiten</a:t>
            </a:r>
          </a:p>
        </p:txBody>
      </p:sp>
      <p:sp>
        <p:nvSpPr>
          <p:cNvPr id="14" name="Textplatzhalter 11">
            <a:extLst>
              <a:ext uri="{FF2B5EF4-FFF2-40B4-BE49-F238E27FC236}">
                <a16:creationId xmlns:a16="http://schemas.microsoft.com/office/drawing/2014/main" id="{9C1BDB41-A396-47EA-873E-20E663F75843}"/>
              </a:ext>
            </a:extLst>
          </p:cNvPr>
          <p:cNvSpPr>
            <a:spLocks noGrp="1"/>
          </p:cNvSpPr>
          <p:nvPr>
            <p:ph type="body" sz="quarter" idx="17" hasCustomPrompt="1"/>
          </p:nvPr>
        </p:nvSpPr>
        <p:spPr>
          <a:xfrm>
            <a:off x="4292950" y="1728133"/>
            <a:ext cx="3600000" cy="360000"/>
          </a:xfrm>
          <a:solidFill>
            <a:srgbClr val="2FAE7A"/>
          </a:solidFill>
        </p:spPr>
        <p:txBody>
          <a:bodyPr vert="horz" lIns="180000" tIns="180000" rIns="180000" bIns="180000" rtlCol="0" anchor="ctr">
            <a:noAutofit/>
          </a:bodyPr>
          <a:lstStyle>
            <a:lvl1pPr marL="0" indent="0">
              <a:buClr>
                <a:schemeClr val="bg1"/>
              </a:buClr>
              <a:buFont typeface="Wingdings" panose="05000000000000000000" pitchFamily="2" charset="2"/>
              <a:buNone/>
              <a:defRPr lang="de-DE" sz="1600" b="1" dirty="0">
                <a:solidFill>
                  <a:schemeClr val="bg1"/>
                </a:solidFill>
                <a:latin typeface="Source Sans Pro" panose="020B0503030403020204" pitchFamily="34" charset="0"/>
              </a:defRPr>
            </a:lvl1pPr>
          </a:lstStyle>
          <a:p>
            <a:pPr marL="270000" lvl="0" indent="-270000"/>
            <a:r>
              <a:rPr lang="de-DE"/>
              <a:t>Textmasterformat</a:t>
            </a:r>
          </a:p>
        </p:txBody>
      </p:sp>
      <p:sp>
        <p:nvSpPr>
          <p:cNvPr id="15" name="Textplatzhalter 3">
            <a:extLst>
              <a:ext uri="{FF2B5EF4-FFF2-40B4-BE49-F238E27FC236}">
                <a16:creationId xmlns:a16="http://schemas.microsoft.com/office/drawing/2014/main" id="{30EC887C-399C-4C0C-8752-8295AEB3F73D}"/>
              </a:ext>
            </a:extLst>
          </p:cNvPr>
          <p:cNvSpPr>
            <a:spLocks noGrp="1"/>
          </p:cNvSpPr>
          <p:nvPr>
            <p:ph type="body" sz="quarter" idx="18"/>
          </p:nvPr>
        </p:nvSpPr>
        <p:spPr>
          <a:xfrm>
            <a:off x="8045900" y="2088133"/>
            <a:ext cx="3600000" cy="1717200"/>
          </a:xfrm>
          <a:solidFill>
            <a:schemeClr val="bg1">
              <a:lumMod val="95000"/>
            </a:schemeClr>
          </a:solidFill>
        </p:spPr>
        <p:txBody>
          <a:bodyPr vert="horz" lIns="180000" tIns="180000" rIns="180000" bIns="180000" rtlCol="0">
            <a:noAutofit/>
          </a:bodyPr>
          <a:lstStyle>
            <a:lvl1pPr>
              <a:defRPr lang="de-DE" sz="1400" kern="1200" dirty="0">
                <a:solidFill>
                  <a:schemeClr val="tx2">
                    <a:lumMod val="75000"/>
                  </a:schemeClr>
                </a:solidFill>
                <a:latin typeface="Source Sans Pro" panose="020B0503030403020204" pitchFamily="34" charset="0"/>
                <a:ea typeface="+mn-ea"/>
                <a:cs typeface="+mn-cs"/>
              </a:defRPr>
            </a:lvl1pPr>
            <a:lvl2pPr>
              <a:defRPr lang="de-DE" sz="1400" smtClean="0">
                <a:solidFill>
                  <a:schemeClr val="tx2">
                    <a:lumMod val="75000"/>
                  </a:schemeClr>
                </a:solidFill>
              </a:defRPr>
            </a:lvl2pPr>
            <a:lvl3pPr marL="810000" indent="0">
              <a:buNone/>
              <a:defRPr lang="de-DE" sz="1400" smtClean="0">
                <a:solidFill>
                  <a:schemeClr val="tx1"/>
                </a:solidFill>
              </a:defRPr>
            </a:lvl3pPr>
            <a:lvl4pPr>
              <a:defRPr lang="de-DE" sz="1200" smtClean="0">
                <a:solidFill>
                  <a:schemeClr val="tx1"/>
                </a:solidFill>
              </a:defRPr>
            </a:lvl4pPr>
            <a:lvl5pPr>
              <a:defRPr lang="de-DE" sz="1200">
                <a:solidFill>
                  <a:schemeClr val="tx1"/>
                </a:solidFill>
              </a:defRPr>
            </a:lvl5pPr>
          </a:lstStyle>
          <a:p>
            <a:pPr marL="270000" lvl="0" indent="-270000" algn="l" defTabSz="914400" rtl="0" eaLnBrk="1" latinLnBrk="0" hangingPunct="1">
              <a:lnSpc>
                <a:spcPct val="110000"/>
              </a:lnSpc>
              <a:spcBef>
                <a:spcPts val="0"/>
              </a:spcBef>
              <a:spcAft>
                <a:spcPts val="1000"/>
              </a:spcAft>
              <a:buClr>
                <a:schemeClr val="tx2">
                  <a:lumMod val="75000"/>
                </a:schemeClr>
              </a:buClr>
            </a:pPr>
            <a:r>
              <a:rPr lang="de-DE"/>
              <a:t>Formatvorlagen des Textmasters bearbeiten</a:t>
            </a:r>
          </a:p>
        </p:txBody>
      </p:sp>
      <p:sp>
        <p:nvSpPr>
          <p:cNvPr id="16" name="Textplatzhalter 11">
            <a:extLst>
              <a:ext uri="{FF2B5EF4-FFF2-40B4-BE49-F238E27FC236}">
                <a16:creationId xmlns:a16="http://schemas.microsoft.com/office/drawing/2014/main" id="{A2373533-4FAC-4C88-9D9B-DC51A84F6F80}"/>
              </a:ext>
            </a:extLst>
          </p:cNvPr>
          <p:cNvSpPr>
            <a:spLocks noGrp="1"/>
          </p:cNvSpPr>
          <p:nvPr>
            <p:ph type="body" sz="quarter" idx="19" hasCustomPrompt="1"/>
          </p:nvPr>
        </p:nvSpPr>
        <p:spPr>
          <a:xfrm>
            <a:off x="8045900" y="1728133"/>
            <a:ext cx="3600000" cy="360000"/>
          </a:xfrm>
          <a:solidFill>
            <a:srgbClr val="2FAE7A"/>
          </a:solidFill>
        </p:spPr>
        <p:txBody>
          <a:bodyPr vert="horz" lIns="180000" tIns="180000" rIns="180000" bIns="180000" rtlCol="0" anchor="ctr">
            <a:noAutofit/>
          </a:bodyPr>
          <a:lstStyle>
            <a:lvl1pPr marL="0" indent="0">
              <a:buClr>
                <a:schemeClr val="bg1"/>
              </a:buClr>
              <a:buFont typeface="Wingdings" panose="05000000000000000000" pitchFamily="2" charset="2"/>
              <a:buNone/>
              <a:defRPr lang="de-DE" sz="1600" b="1" dirty="0">
                <a:solidFill>
                  <a:schemeClr val="bg1"/>
                </a:solidFill>
                <a:latin typeface="Source Sans Pro" panose="020B0503030403020204" pitchFamily="34" charset="0"/>
              </a:defRPr>
            </a:lvl1pPr>
          </a:lstStyle>
          <a:p>
            <a:pPr marL="270000" lvl="0" indent="-270000"/>
            <a:r>
              <a:rPr lang="de-DE"/>
              <a:t>Textmasterformat</a:t>
            </a:r>
          </a:p>
        </p:txBody>
      </p:sp>
      <p:sp>
        <p:nvSpPr>
          <p:cNvPr id="34" name="Textplatzhalter 3">
            <a:extLst>
              <a:ext uri="{FF2B5EF4-FFF2-40B4-BE49-F238E27FC236}">
                <a16:creationId xmlns:a16="http://schemas.microsoft.com/office/drawing/2014/main" id="{DBE1147F-E63C-4DD2-86C3-F24323D4D898}"/>
              </a:ext>
            </a:extLst>
          </p:cNvPr>
          <p:cNvSpPr>
            <a:spLocks noGrp="1"/>
          </p:cNvSpPr>
          <p:nvPr>
            <p:ph type="body" sz="quarter" idx="20"/>
          </p:nvPr>
        </p:nvSpPr>
        <p:spPr>
          <a:xfrm>
            <a:off x="540000" y="4309333"/>
            <a:ext cx="3600000" cy="1717200"/>
          </a:xfrm>
          <a:solidFill>
            <a:schemeClr val="bg1">
              <a:lumMod val="95000"/>
            </a:schemeClr>
          </a:solidFill>
        </p:spPr>
        <p:txBody>
          <a:bodyPr vert="horz" lIns="180000" tIns="180000" rIns="180000" bIns="180000" rtlCol="0">
            <a:noAutofit/>
          </a:bodyPr>
          <a:lstStyle>
            <a:lvl1pPr marL="0" indent="0">
              <a:buClr>
                <a:srgbClr val="2FAE7A"/>
              </a:buClr>
              <a:buFont typeface="Source Sans Pro Black" panose="020B0803030403020204" pitchFamily="34" charset="0"/>
              <a:buChar char="‒"/>
              <a:defRPr lang="de-DE" sz="1400" kern="1200" dirty="0">
                <a:solidFill>
                  <a:schemeClr val="tx2">
                    <a:lumMod val="75000"/>
                  </a:schemeClr>
                </a:solidFill>
                <a:latin typeface="Source Sans Pro" panose="020B0503030403020204" pitchFamily="34" charset="0"/>
                <a:ea typeface="+mn-ea"/>
                <a:cs typeface="+mn-cs"/>
              </a:defRPr>
            </a:lvl1pPr>
            <a:lvl2pPr marL="450000" indent="0">
              <a:buNone/>
              <a:defRPr lang="de-DE" sz="1400" smtClean="0">
                <a:solidFill>
                  <a:schemeClr val="tx2">
                    <a:lumMod val="75000"/>
                  </a:schemeClr>
                </a:solidFill>
              </a:defRPr>
            </a:lvl2pPr>
            <a:lvl3pPr marL="810000" indent="0">
              <a:buNone/>
              <a:defRPr lang="de-DE" sz="1400" smtClean="0">
                <a:solidFill>
                  <a:schemeClr val="tx1"/>
                </a:solidFill>
              </a:defRPr>
            </a:lvl3pPr>
            <a:lvl4pPr>
              <a:defRPr lang="de-DE" sz="1200" smtClean="0">
                <a:solidFill>
                  <a:schemeClr val="tx1"/>
                </a:solidFill>
              </a:defRPr>
            </a:lvl4pPr>
            <a:lvl5pPr>
              <a:defRPr lang="de-DE" sz="1200">
                <a:solidFill>
                  <a:schemeClr val="tx1"/>
                </a:solidFill>
              </a:defRPr>
            </a:lvl5pPr>
          </a:lstStyle>
          <a:p>
            <a:pPr marL="285750" lvl="0" indent="-285750" algn="l" defTabSz="914400" rtl="0" eaLnBrk="1" latinLnBrk="0" hangingPunct="1">
              <a:lnSpc>
                <a:spcPct val="110000"/>
              </a:lnSpc>
              <a:spcBef>
                <a:spcPts val="0"/>
              </a:spcBef>
              <a:spcAft>
                <a:spcPts val="1000"/>
              </a:spcAft>
              <a:buClr>
                <a:schemeClr val="tx2">
                  <a:lumMod val="75000"/>
                </a:schemeClr>
              </a:buClr>
            </a:pPr>
            <a:r>
              <a:rPr lang="de-DE"/>
              <a:t>Formatvorlagen des Textmasters bearbeiten</a:t>
            </a:r>
          </a:p>
        </p:txBody>
      </p:sp>
      <p:sp>
        <p:nvSpPr>
          <p:cNvPr id="35" name="Textplatzhalter 11">
            <a:extLst>
              <a:ext uri="{FF2B5EF4-FFF2-40B4-BE49-F238E27FC236}">
                <a16:creationId xmlns:a16="http://schemas.microsoft.com/office/drawing/2014/main" id="{AE89609A-879C-48EA-ABFA-555F1506ACA5}"/>
              </a:ext>
            </a:extLst>
          </p:cNvPr>
          <p:cNvSpPr>
            <a:spLocks noGrp="1"/>
          </p:cNvSpPr>
          <p:nvPr>
            <p:ph type="body" sz="quarter" idx="21" hasCustomPrompt="1"/>
          </p:nvPr>
        </p:nvSpPr>
        <p:spPr>
          <a:xfrm>
            <a:off x="540000" y="3949333"/>
            <a:ext cx="3600000" cy="360000"/>
          </a:xfrm>
          <a:solidFill>
            <a:srgbClr val="2FAE7A"/>
          </a:solidFill>
        </p:spPr>
        <p:txBody>
          <a:bodyPr vert="horz" lIns="180000" tIns="180000" rIns="180000" bIns="180000" rtlCol="0" anchor="ctr">
            <a:noAutofit/>
          </a:bodyPr>
          <a:lstStyle>
            <a:lvl1pPr marL="0" indent="0">
              <a:buClr>
                <a:schemeClr val="bg1"/>
              </a:buClr>
              <a:buFont typeface="Wingdings" panose="05000000000000000000" pitchFamily="2" charset="2"/>
              <a:buNone/>
              <a:defRPr lang="de-DE" sz="1600" b="1" dirty="0">
                <a:solidFill>
                  <a:schemeClr val="bg1"/>
                </a:solidFill>
                <a:latin typeface="Source Sans Pro" panose="020B0503030403020204" pitchFamily="34" charset="0"/>
              </a:defRPr>
            </a:lvl1pPr>
          </a:lstStyle>
          <a:p>
            <a:pPr marL="270000" lvl="0" indent="-270000"/>
            <a:r>
              <a:rPr lang="de-DE"/>
              <a:t>Textmasterformat</a:t>
            </a:r>
          </a:p>
        </p:txBody>
      </p:sp>
      <p:sp>
        <p:nvSpPr>
          <p:cNvPr id="36" name="Textplatzhalter 3">
            <a:extLst>
              <a:ext uri="{FF2B5EF4-FFF2-40B4-BE49-F238E27FC236}">
                <a16:creationId xmlns:a16="http://schemas.microsoft.com/office/drawing/2014/main" id="{345B3A82-1FA1-4C28-9979-B9AE0818DB09}"/>
              </a:ext>
            </a:extLst>
          </p:cNvPr>
          <p:cNvSpPr>
            <a:spLocks noGrp="1"/>
          </p:cNvSpPr>
          <p:nvPr>
            <p:ph type="body" sz="quarter" idx="22"/>
          </p:nvPr>
        </p:nvSpPr>
        <p:spPr>
          <a:xfrm>
            <a:off x="4297417" y="4309333"/>
            <a:ext cx="3600000" cy="1717200"/>
          </a:xfrm>
          <a:solidFill>
            <a:schemeClr val="bg1">
              <a:lumMod val="95000"/>
            </a:schemeClr>
          </a:solidFill>
        </p:spPr>
        <p:txBody>
          <a:bodyPr vert="horz" lIns="180000" tIns="180000" rIns="180000" bIns="180000" rtlCol="0">
            <a:noAutofit/>
          </a:bodyPr>
          <a:lstStyle>
            <a:lvl1pPr marL="270000" indent="-270000">
              <a:buClr>
                <a:srgbClr val="2FAE7A"/>
              </a:buClr>
              <a:buFont typeface="Source Sans Pro Black" panose="020B0803030403020204" pitchFamily="34" charset="0"/>
              <a:buChar char="‒"/>
              <a:defRPr lang="de-DE" sz="1400" kern="1200" dirty="0">
                <a:solidFill>
                  <a:schemeClr val="tx2">
                    <a:lumMod val="75000"/>
                  </a:schemeClr>
                </a:solidFill>
                <a:latin typeface="Source Sans Pro" panose="020B0503030403020204" pitchFamily="34" charset="0"/>
                <a:ea typeface="+mn-ea"/>
                <a:cs typeface="+mn-cs"/>
              </a:defRPr>
            </a:lvl1pPr>
            <a:lvl2pPr>
              <a:defRPr lang="de-DE" sz="1400" smtClean="0">
                <a:solidFill>
                  <a:schemeClr val="tx2">
                    <a:lumMod val="75000"/>
                  </a:schemeClr>
                </a:solidFill>
              </a:defRPr>
            </a:lvl2pPr>
            <a:lvl3pPr marL="810000" indent="0">
              <a:buNone/>
              <a:defRPr lang="de-DE" sz="1400" smtClean="0">
                <a:solidFill>
                  <a:schemeClr val="tx1"/>
                </a:solidFill>
              </a:defRPr>
            </a:lvl3pPr>
            <a:lvl4pPr>
              <a:defRPr lang="de-DE" sz="1200" smtClean="0">
                <a:solidFill>
                  <a:schemeClr val="tx1"/>
                </a:solidFill>
              </a:defRPr>
            </a:lvl4pPr>
            <a:lvl5pPr>
              <a:defRPr lang="de-DE" sz="1200">
                <a:solidFill>
                  <a:schemeClr val="tx1"/>
                </a:solidFill>
              </a:defRPr>
            </a:lvl5pPr>
          </a:lstStyle>
          <a:p>
            <a:pPr marL="270000" lvl="0" indent="-270000" algn="l" defTabSz="914400" rtl="0" eaLnBrk="1" latinLnBrk="0" hangingPunct="1">
              <a:lnSpc>
                <a:spcPct val="110000"/>
              </a:lnSpc>
              <a:spcBef>
                <a:spcPts val="0"/>
              </a:spcBef>
              <a:spcAft>
                <a:spcPts val="1000"/>
              </a:spcAft>
              <a:buClr>
                <a:schemeClr val="tx2">
                  <a:lumMod val="75000"/>
                </a:schemeClr>
              </a:buClr>
            </a:pPr>
            <a:r>
              <a:rPr lang="de-DE"/>
              <a:t>Formatvorlagen des Textmasters bearbeiten</a:t>
            </a:r>
          </a:p>
        </p:txBody>
      </p:sp>
      <p:sp>
        <p:nvSpPr>
          <p:cNvPr id="37" name="Textplatzhalter 11">
            <a:extLst>
              <a:ext uri="{FF2B5EF4-FFF2-40B4-BE49-F238E27FC236}">
                <a16:creationId xmlns:a16="http://schemas.microsoft.com/office/drawing/2014/main" id="{1A11C4F8-817A-4F09-A526-10045DE20816}"/>
              </a:ext>
            </a:extLst>
          </p:cNvPr>
          <p:cNvSpPr>
            <a:spLocks noGrp="1"/>
          </p:cNvSpPr>
          <p:nvPr>
            <p:ph type="body" sz="quarter" idx="23" hasCustomPrompt="1"/>
          </p:nvPr>
        </p:nvSpPr>
        <p:spPr>
          <a:xfrm>
            <a:off x="4297417" y="3949333"/>
            <a:ext cx="3600000" cy="360000"/>
          </a:xfrm>
          <a:solidFill>
            <a:srgbClr val="2FAE7A"/>
          </a:solidFill>
        </p:spPr>
        <p:txBody>
          <a:bodyPr vert="horz" lIns="180000" tIns="180000" rIns="180000" bIns="180000" rtlCol="0" anchor="ctr">
            <a:noAutofit/>
          </a:bodyPr>
          <a:lstStyle>
            <a:lvl1pPr marL="0" indent="0">
              <a:buClr>
                <a:schemeClr val="bg1"/>
              </a:buClr>
              <a:buFont typeface="Wingdings" panose="05000000000000000000" pitchFamily="2" charset="2"/>
              <a:buNone/>
              <a:defRPr lang="de-DE" sz="1600" b="1" dirty="0">
                <a:solidFill>
                  <a:schemeClr val="bg1"/>
                </a:solidFill>
                <a:latin typeface="Source Sans Pro" panose="020B0503030403020204" pitchFamily="34" charset="0"/>
              </a:defRPr>
            </a:lvl1pPr>
          </a:lstStyle>
          <a:p>
            <a:pPr marL="270000" lvl="0" indent="-270000"/>
            <a:r>
              <a:rPr lang="de-DE"/>
              <a:t>Textmasterformat</a:t>
            </a:r>
          </a:p>
        </p:txBody>
      </p:sp>
      <p:sp>
        <p:nvSpPr>
          <p:cNvPr id="38" name="Textplatzhalter 3">
            <a:extLst>
              <a:ext uri="{FF2B5EF4-FFF2-40B4-BE49-F238E27FC236}">
                <a16:creationId xmlns:a16="http://schemas.microsoft.com/office/drawing/2014/main" id="{D3E1C1E9-7BE7-47F2-B5CD-6CF974CD49E8}"/>
              </a:ext>
            </a:extLst>
          </p:cNvPr>
          <p:cNvSpPr>
            <a:spLocks noGrp="1"/>
          </p:cNvSpPr>
          <p:nvPr>
            <p:ph type="body" sz="quarter" idx="24"/>
          </p:nvPr>
        </p:nvSpPr>
        <p:spPr>
          <a:xfrm>
            <a:off x="8054834" y="4309333"/>
            <a:ext cx="3600000" cy="1717200"/>
          </a:xfrm>
          <a:solidFill>
            <a:schemeClr val="bg1">
              <a:lumMod val="95000"/>
            </a:schemeClr>
          </a:solidFill>
        </p:spPr>
        <p:txBody>
          <a:bodyPr vert="horz" lIns="180000" tIns="180000" rIns="180000" bIns="180000" rtlCol="0">
            <a:noAutofit/>
          </a:bodyPr>
          <a:lstStyle>
            <a:lvl1pPr>
              <a:defRPr lang="de-DE" sz="1400" kern="1200" dirty="0">
                <a:solidFill>
                  <a:schemeClr val="tx2">
                    <a:lumMod val="75000"/>
                  </a:schemeClr>
                </a:solidFill>
                <a:latin typeface="Source Sans Pro" panose="020B0503030403020204" pitchFamily="34" charset="0"/>
                <a:ea typeface="+mn-ea"/>
                <a:cs typeface="+mn-cs"/>
              </a:defRPr>
            </a:lvl1pPr>
            <a:lvl2pPr>
              <a:defRPr lang="de-DE" sz="1400" smtClean="0">
                <a:solidFill>
                  <a:schemeClr val="tx2">
                    <a:lumMod val="75000"/>
                  </a:schemeClr>
                </a:solidFill>
              </a:defRPr>
            </a:lvl2pPr>
            <a:lvl3pPr marL="810000" indent="0">
              <a:buNone/>
              <a:defRPr lang="de-DE" sz="1400" smtClean="0">
                <a:solidFill>
                  <a:schemeClr val="tx1"/>
                </a:solidFill>
              </a:defRPr>
            </a:lvl3pPr>
            <a:lvl4pPr>
              <a:defRPr lang="de-DE" sz="1200" smtClean="0">
                <a:solidFill>
                  <a:schemeClr val="tx1"/>
                </a:solidFill>
              </a:defRPr>
            </a:lvl4pPr>
            <a:lvl5pPr>
              <a:defRPr lang="de-DE" sz="1200">
                <a:solidFill>
                  <a:schemeClr val="tx1"/>
                </a:solidFill>
              </a:defRPr>
            </a:lvl5pPr>
          </a:lstStyle>
          <a:p>
            <a:pPr marL="270000" lvl="0" indent="-270000" algn="l" defTabSz="914400" rtl="0" eaLnBrk="1" latinLnBrk="0" hangingPunct="1">
              <a:lnSpc>
                <a:spcPct val="110000"/>
              </a:lnSpc>
              <a:spcBef>
                <a:spcPts val="0"/>
              </a:spcBef>
              <a:spcAft>
                <a:spcPts val="1000"/>
              </a:spcAft>
              <a:buClr>
                <a:schemeClr val="tx2">
                  <a:lumMod val="75000"/>
                </a:schemeClr>
              </a:buClr>
            </a:pPr>
            <a:r>
              <a:rPr lang="de-DE"/>
              <a:t>Formatvorlagen des Textmasters bearbeiten</a:t>
            </a:r>
          </a:p>
        </p:txBody>
      </p:sp>
      <p:sp>
        <p:nvSpPr>
          <p:cNvPr id="39" name="Textplatzhalter 11">
            <a:extLst>
              <a:ext uri="{FF2B5EF4-FFF2-40B4-BE49-F238E27FC236}">
                <a16:creationId xmlns:a16="http://schemas.microsoft.com/office/drawing/2014/main" id="{970CAD94-AF75-482E-A9E4-71B7033433D2}"/>
              </a:ext>
            </a:extLst>
          </p:cNvPr>
          <p:cNvSpPr>
            <a:spLocks noGrp="1"/>
          </p:cNvSpPr>
          <p:nvPr>
            <p:ph type="body" sz="quarter" idx="25" hasCustomPrompt="1"/>
          </p:nvPr>
        </p:nvSpPr>
        <p:spPr>
          <a:xfrm>
            <a:off x="8054834" y="3949333"/>
            <a:ext cx="3600000" cy="360000"/>
          </a:xfrm>
          <a:solidFill>
            <a:srgbClr val="2FAE7A"/>
          </a:solidFill>
        </p:spPr>
        <p:txBody>
          <a:bodyPr vert="horz" lIns="180000" tIns="180000" rIns="180000" bIns="180000" rtlCol="0" anchor="ctr">
            <a:noAutofit/>
          </a:bodyPr>
          <a:lstStyle>
            <a:lvl1pPr marL="0" indent="0">
              <a:buClr>
                <a:schemeClr val="bg1"/>
              </a:buClr>
              <a:buFont typeface="Wingdings" panose="05000000000000000000" pitchFamily="2" charset="2"/>
              <a:buNone/>
              <a:defRPr lang="de-DE" sz="1600" b="1" dirty="0">
                <a:solidFill>
                  <a:schemeClr val="bg1"/>
                </a:solidFill>
                <a:latin typeface="Source Sans Pro" panose="020B0503030403020204" pitchFamily="34" charset="0"/>
              </a:defRPr>
            </a:lvl1pPr>
          </a:lstStyle>
          <a:p>
            <a:pPr marL="270000" lvl="0" indent="-270000"/>
            <a:r>
              <a:rPr lang="de-DE"/>
              <a:t>Textmasterformat</a:t>
            </a:r>
          </a:p>
        </p:txBody>
      </p:sp>
      <p:sp>
        <p:nvSpPr>
          <p:cNvPr id="3" name="Titel 2">
            <a:extLst>
              <a:ext uri="{FF2B5EF4-FFF2-40B4-BE49-F238E27FC236}">
                <a16:creationId xmlns:a16="http://schemas.microsoft.com/office/drawing/2014/main" id="{579885E2-7C67-4306-9D06-136FFF041C8E}"/>
              </a:ext>
            </a:extLst>
          </p:cNvPr>
          <p:cNvSpPr>
            <a:spLocks noGrp="1"/>
          </p:cNvSpPr>
          <p:nvPr>
            <p:ph type="title" hasCustomPrompt="1"/>
          </p:nvPr>
        </p:nvSpPr>
        <p:spPr/>
        <p:txBody>
          <a:bodyPr/>
          <a:lstStyle>
            <a:lvl1pPr marL="0" indent="0">
              <a:buClr>
                <a:srgbClr val="002456"/>
              </a:buClr>
              <a:buSzPct val="110000"/>
              <a:buFont typeface="Source Sans Pro" panose="020B05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26"/>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27"/>
          </p:nvPr>
        </p:nvSpPr>
        <p:spPr/>
        <p:txBody>
          <a:bodyPr/>
          <a:lstStyle/>
          <a:p>
            <a:r>
              <a:rPr lang="de-DE" noProof="0"/>
              <a:t>FZI Forschungszentrum Informatik</a:t>
            </a:r>
          </a:p>
        </p:txBody>
      </p:sp>
      <p:sp>
        <p:nvSpPr>
          <p:cNvPr id="9" name="Foliennummernplatzhalter 8"/>
          <p:cNvSpPr>
            <a:spLocks noGrp="1"/>
          </p:cNvSpPr>
          <p:nvPr>
            <p:ph type="sldNum" sz="quarter" idx="28"/>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30962569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x Content und Bi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E2801DF-E796-4473-A2FF-73A153A17A69}"/>
              </a:ext>
            </a:extLst>
          </p:cNvPr>
          <p:cNvSpPr>
            <a:spLocks noGrp="1"/>
          </p:cNvSpPr>
          <p:nvPr>
            <p:ph type="body" sz="quarter" idx="14" hasCustomPrompt="1"/>
          </p:nvPr>
        </p:nvSpPr>
        <p:spPr>
          <a:xfrm>
            <a:off x="3047071" y="1512000"/>
            <a:ext cx="3049200" cy="2149200"/>
          </a:xfrm>
          <a:solidFill>
            <a:srgbClr val="2FAE7A"/>
          </a:solidFill>
        </p:spPr>
        <p:txBody>
          <a:bodyPr vert="horz" lIns="180000" tIns="180000" rIns="180000" bIns="180000" rtlCol="0" anchor="b">
            <a:noAutofit/>
          </a:bodyPr>
          <a:lstStyle>
            <a:lvl1pPr marL="0" indent="0">
              <a:buClr>
                <a:schemeClr val="bg1"/>
              </a:buClr>
              <a:buNone/>
              <a:defRPr lang="de-DE" sz="1400" b="0" dirty="0">
                <a:solidFill>
                  <a:schemeClr val="bg1"/>
                </a:solidFill>
                <a:latin typeface="Source Sans Pro" panose="020B0503030403020204" pitchFamily="34" charset="0"/>
              </a:defRPr>
            </a:lvl1pPr>
          </a:lstStyle>
          <a:p>
            <a:pPr marL="270000" lvl="0" indent="-270000"/>
            <a:r>
              <a:rPr lang="de-DE"/>
              <a:t>Textmasterformat bearbeiten</a:t>
            </a:r>
          </a:p>
        </p:txBody>
      </p:sp>
      <p:sp>
        <p:nvSpPr>
          <p:cNvPr id="40" name="Bildplatzhalter 37">
            <a:extLst>
              <a:ext uri="{FF2B5EF4-FFF2-40B4-BE49-F238E27FC236}">
                <a16:creationId xmlns:a16="http://schemas.microsoft.com/office/drawing/2014/main" id="{BACE67F3-129E-4A37-AA2B-2B74E473302F}"/>
              </a:ext>
            </a:extLst>
          </p:cNvPr>
          <p:cNvSpPr>
            <a:spLocks noGrp="1"/>
          </p:cNvSpPr>
          <p:nvPr>
            <p:ph type="pic" sz="quarter" idx="17"/>
          </p:nvPr>
        </p:nvSpPr>
        <p:spPr>
          <a:xfrm>
            <a:off x="0" y="1512000"/>
            <a:ext cx="3049200" cy="2149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23" name="Bildplatzhalter 37">
            <a:extLst>
              <a:ext uri="{FF2B5EF4-FFF2-40B4-BE49-F238E27FC236}">
                <a16:creationId xmlns:a16="http://schemas.microsoft.com/office/drawing/2014/main" id="{47153DED-C209-4FB0-949B-39A6840CB780}"/>
              </a:ext>
            </a:extLst>
          </p:cNvPr>
          <p:cNvSpPr>
            <a:spLocks noGrp="1"/>
          </p:cNvSpPr>
          <p:nvPr>
            <p:ph type="pic" sz="quarter" idx="23"/>
          </p:nvPr>
        </p:nvSpPr>
        <p:spPr>
          <a:xfrm>
            <a:off x="6094142" y="1512000"/>
            <a:ext cx="3049200" cy="2149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28" name="Textplatzhalter 3">
            <a:extLst>
              <a:ext uri="{FF2B5EF4-FFF2-40B4-BE49-F238E27FC236}">
                <a16:creationId xmlns:a16="http://schemas.microsoft.com/office/drawing/2014/main" id="{C9208410-CB21-4D52-ABBA-5DD390615FF2}"/>
              </a:ext>
            </a:extLst>
          </p:cNvPr>
          <p:cNvSpPr>
            <a:spLocks noGrp="1"/>
          </p:cNvSpPr>
          <p:nvPr>
            <p:ph type="body" sz="quarter" idx="25" hasCustomPrompt="1"/>
          </p:nvPr>
        </p:nvSpPr>
        <p:spPr>
          <a:xfrm>
            <a:off x="9141213" y="1512000"/>
            <a:ext cx="3049200" cy="2149200"/>
          </a:xfrm>
          <a:solidFill>
            <a:srgbClr val="2FAE7A"/>
          </a:solidFill>
        </p:spPr>
        <p:txBody>
          <a:bodyPr vert="horz" lIns="180000" tIns="180000" rIns="180000" bIns="180000" rtlCol="0" anchor="b">
            <a:noAutofit/>
          </a:bodyPr>
          <a:lstStyle>
            <a:lvl1pPr marL="0" indent="0">
              <a:buClr>
                <a:schemeClr val="bg1"/>
              </a:buClr>
              <a:buNone/>
              <a:defRPr lang="de-DE" sz="1400" b="0" dirty="0">
                <a:solidFill>
                  <a:schemeClr val="bg1"/>
                </a:solidFill>
                <a:latin typeface="Source Sans Pro" panose="020B0503030403020204" pitchFamily="34" charset="0"/>
              </a:defRPr>
            </a:lvl1pPr>
          </a:lstStyle>
          <a:p>
            <a:pPr marL="270000" lvl="0" indent="-270000"/>
            <a:r>
              <a:rPr lang="de-DE"/>
              <a:t>Textmasterformat bearbeiten</a:t>
            </a:r>
          </a:p>
        </p:txBody>
      </p:sp>
      <p:sp>
        <p:nvSpPr>
          <p:cNvPr id="33" name="Textplatzhalter 3">
            <a:extLst>
              <a:ext uri="{FF2B5EF4-FFF2-40B4-BE49-F238E27FC236}">
                <a16:creationId xmlns:a16="http://schemas.microsoft.com/office/drawing/2014/main" id="{DCFC5CA6-E783-4A8F-ABA1-2B01987B317A}"/>
              </a:ext>
            </a:extLst>
          </p:cNvPr>
          <p:cNvSpPr>
            <a:spLocks noGrp="1"/>
          </p:cNvSpPr>
          <p:nvPr>
            <p:ph type="body" sz="quarter" idx="26" hasCustomPrompt="1"/>
          </p:nvPr>
        </p:nvSpPr>
        <p:spPr>
          <a:xfrm>
            <a:off x="0" y="3661050"/>
            <a:ext cx="3049200" cy="2149200"/>
          </a:xfrm>
          <a:solidFill>
            <a:srgbClr val="2FAE7A"/>
          </a:solidFill>
        </p:spPr>
        <p:txBody>
          <a:bodyPr vert="horz" lIns="180000" tIns="180000" rIns="180000" bIns="180000" rtlCol="0" anchor="b">
            <a:noAutofit/>
          </a:bodyPr>
          <a:lstStyle>
            <a:lvl1pPr marL="0" indent="0">
              <a:buClr>
                <a:schemeClr val="bg1"/>
              </a:buClr>
              <a:buNone/>
              <a:defRPr lang="de-DE" sz="1400" b="0" dirty="0">
                <a:solidFill>
                  <a:schemeClr val="bg1"/>
                </a:solidFill>
                <a:latin typeface="Source Sans Pro" panose="020B0503030403020204" pitchFamily="34" charset="0"/>
              </a:defRPr>
            </a:lvl1pPr>
          </a:lstStyle>
          <a:p>
            <a:pPr marL="270000" lvl="0" indent="-270000"/>
            <a:r>
              <a:rPr lang="de-DE"/>
              <a:t>Textmasterformat bearbeiten</a:t>
            </a:r>
          </a:p>
        </p:txBody>
      </p:sp>
      <p:sp>
        <p:nvSpPr>
          <p:cNvPr id="34" name="Bildplatzhalter 37">
            <a:extLst>
              <a:ext uri="{FF2B5EF4-FFF2-40B4-BE49-F238E27FC236}">
                <a16:creationId xmlns:a16="http://schemas.microsoft.com/office/drawing/2014/main" id="{81FBA444-3B33-4CEF-9072-8D0211C603C5}"/>
              </a:ext>
            </a:extLst>
          </p:cNvPr>
          <p:cNvSpPr>
            <a:spLocks noGrp="1"/>
          </p:cNvSpPr>
          <p:nvPr>
            <p:ph type="pic" sz="quarter" idx="27"/>
          </p:nvPr>
        </p:nvSpPr>
        <p:spPr>
          <a:xfrm>
            <a:off x="3047071" y="3661050"/>
            <a:ext cx="3049200" cy="2149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36" name="Bildplatzhalter 37">
            <a:extLst>
              <a:ext uri="{FF2B5EF4-FFF2-40B4-BE49-F238E27FC236}">
                <a16:creationId xmlns:a16="http://schemas.microsoft.com/office/drawing/2014/main" id="{C214C87D-3F60-46C2-84B0-9FAFDB446FF2}"/>
              </a:ext>
            </a:extLst>
          </p:cNvPr>
          <p:cNvSpPr>
            <a:spLocks noGrp="1"/>
          </p:cNvSpPr>
          <p:nvPr>
            <p:ph type="pic" sz="quarter" idx="29"/>
          </p:nvPr>
        </p:nvSpPr>
        <p:spPr>
          <a:xfrm>
            <a:off x="9141213" y="3661050"/>
            <a:ext cx="3049200" cy="2149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37" name="Textplatzhalter 3">
            <a:extLst>
              <a:ext uri="{FF2B5EF4-FFF2-40B4-BE49-F238E27FC236}">
                <a16:creationId xmlns:a16="http://schemas.microsoft.com/office/drawing/2014/main" id="{65339C48-BECA-407F-A15D-8F3F7BB2442E}"/>
              </a:ext>
            </a:extLst>
          </p:cNvPr>
          <p:cNvSpPr>
            <a:spLocks noGrp="1"/>
          </p:cNvSpPr>
          <p:nvPr>
            <p:ph type="body" sz="quarter" idx="30" hasCustomPrompt="1"/>
          </p:nvPr>
        </p:nvSpPr>
        <p:spPr>
          <a:xfrm>
            <a:off x="6094142" y="3661050"/>
            <a:ext cx="3049200" cy="2149200"/>
          </a:xfrm>
          <a:solidFill>
            <a:srgbClr val="2FAE7A"/>
          </a:solidFill>
        </p:spPr>
        <p:txBody>
          <a:bodyPr vert="horz" lIns="180000" tIns="180000" rIns="180000" bIns="180000" rtlCol="0" anchor="b">
            <a:noAutofit/>
          </a:bodyPr>
          <a:lstStyle>
            <a:lvl1pPr marL="0" indent="0">
              <a:buClr>
                <a:schemeClr val="bg1"/>
              </a:buClr>
              <a:buNone/>
              <a:defRPr lang="de-DE" sz="1400" b="0" dirty="0">
                <a:solidFill>
                  <a:schemeClr val="bg1"/>
                </a:solidFill>
                <a:latin typeface="Source Sans Pro" panose="020B0503030403020204" pitchFamily="34" charset="0"/>
              </a:defRPr>
            </a:lvl1pPr>
          </a:lstStyle>
          <a:p>
            <a:pPr marL="270000" lvl="0" indent="-270000"/>
            <a:r>
              <a:rPr lang="de-DE"/>
              <a:t>Textmasterformat bearbeiten</a:t>
            </a:r>
          </a:p>
        </p:txBody>
      </p:sp>
      <p:sp>
        <p:nvSpPr>
          <p:cNvPr id="3" name="Titel 2">
            <a:extLst>
              <a:ext uri="{FF2B5EF4-FFF2-40B4-BE49-F238E27FC236}">
                <a16:creationId xmlns:a16="http://schemas.microsoft.com/office/drawing/2014/main" id="{62D42A66-DF47-41B9-8A3E-F04221E0B7A3}"/>
              </a:ext>
            </a:extLst>
          </p:cNvPr>
          <p:cNvSpPr>
            <a:spLocks noGrp="1"/>
          </p:cNvSpPr>
          <p:nvPr>
            <p:ph type="title" hasCustomPrompt="1"/>
          </p:nvPr>
        </p:nvSpPr>
        <p:spPr/>
        <p:txBody>
          <a:bodyPr/>
          <a:lstStyle>
            <a:lvl1pPr marL="0" indent="0">
              <a:buClr>
                <a:srgbClr val="002456"/>
              </a:buClr>
              <a:buSzPct val="110000"/>
              <a:buFont typeface="Source Sans Pro" panose="020B05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31"/>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32"/>
          </p:nvPr>
        </p:nvSpPr>
        <p:spPr/>
        <p:txBody>
          <a:bodyPr/>
          <a:lstStyle/>
          <a:p>
            <a:r>
              <a:rPr lang="de-DE" noProof="0"/>
              <a:t>FZI Forschungszentrum Informatik</a:t>
            </a:r>
          </a:p>
        </p:txBody>
      </p:sp>
      <p:sp>
        <p:nvSpPr>
          <p:cNvPr id="9" name="Foliennummernplatzhalter 8"/>
          <p:cNvSpPr>
            <a:spLocks noGrp="1"/>
          </p:cNvSpPr>
          <p:nvPr>
            <p:ph type="sldNum" sz="quarter" idx="33"/>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35067166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und Bild hoch">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EFEAA933-DAAA-45A7-9A73-E4B7C3A8BB95}"/>
              </a:ext>
            </a:extLst>
          </p:cNvPr>
          <p:cNvSpPr>
            <a:spLocks noGrp="1"/>
          </p:cNvSpPr>
          <p:nvPr>
            <p:ph type="pic" sz="quarter" idx="16"/>
          </p:nvPr>
        </p:nvSpPr>
        <p:spPr>
          <a:xfrm>
            <a:off x="8234013" y="0"/>
            <a:ext cx="3956400" cy="6858000"/>
          </a:xfrm>
          <a:solidFill>
            <a:schemeClr val="bg1">
              <a:lumMod val="85000"/>
            </a:schemeClr>
          </a:solidFill>
        </p:spPr>
        <p:txBody>
          <a:bodyPr vert="horz" wrap="square" lIns="180000" tIns="180000" rIns="180000" bIns="180000" rtlCol="0">
            <a:noAutofit/>
          </a:bodyPr>
          <a:lstStyle>
            <a:lvl1pPr>
              <a:defRPr lang="en-US"/>
            </a:lvl1pPr>
          </a:lstStyle>
          <a:p>
            <a:pPr marL="0" lvl="0" indent="0">
              <a:buNone/>
            </a:pPr>
            <a:r>
              <a:rPr lang="de-DE"/>
              <a:t>Bild durch Klicken auf Symbol hinzufügen</a:t>
            </a:r>
            <a:endParaRPr lang="en-US"/>
          </a:p>
        </p:txBody>
      </p:sp>
      <p:sp>
        <p:nvSpPr>
          <p:cNvPr id="2" name="Titel"/>
          <p:cNvSpPr>
            <a:spLocks noGrp="1"/>
          </p:cNvSpPr>
          <p:nvPr>
            <p:ph type="title" hasCustomPrompt="1"/>
          </p:nvPr>
        </p:nvSpPr>
        <p:spPr bwMode="gray">
          <a:xfrm>
            <a:off x="540000" y="432000"/>
            <a:ext cx="7447229" cy="1080000"/>
          </a:xfrm>
        </p:spPr>
        <p:txBody>
          <a:bodyPr/>
          <a:lstStyle>
            <a:lvl1pPr marL="0" indent="0">
              <a:buClr>
                <a:srgbClr val="002456"/>
              </a:buClr>
              <a:buSzPct val="110000"/>
              <a:buFont typeface="Source Sans Pro" panose="020B05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noProof="0"/>
              <a:t>Titelmasterformat bearbeiten</a:t>
            </a:r>
          </a:p>
        </p:txBody>
      </p:sp>
      <p:sp>
        <p:nvSpPr>
          <p:cNvPr id="3" name="Inhalt"/>
          <p:cNvSpPr>
            <a:spLocks noGrp="1"/>
          </p:cNvSpPr>
          <p:nvPr>
            <p:ph sz="half" idx="1"/>
          </p:nvPr>
        </p:nvSpPr>
        <p:spPr bwMode="gray">
          <a:xfrm>
            <a:off x="539998" y="1512000"/>
            <a:ext cx="7447229" cy="4298400"/>
          </a:xfrm>
        </p:spPr>
        <p:txBody>
          <a:bodyPr/>
          <a:lstStyle>
            <a:lvl1pPr marL="270000" indent="-270000">
              <a:buClr>
                <a:srgbClr val="2FAE7A"/>
              </a:buClr>
              <a:buFont typeface="Source Sans Pro Black" panose="020B0803030403020204" pitchFamily="34" charset="0"/>
              <a:buChar char="‒"/>
              <a:defRPr sz="1600"/>
            </a:lvl1pPr>
            <a:lvl2pPr>
              <a:defRPr sz="1400"/>
            </a:lvl2pPr>
            <a:lvl3pPr>
              <a:defRPr sz="1200"/>
            </a:lvl3pPr>
            <a:lvl4pPr>
              <a:defRPr sz="1050"/>
            </a:lvl4pPr>
            <a:lvl5pPr>
              <a:defRPr sz="900"/>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
          <p:cNvSpPr>
            <a:spLocks noGrp="1"/>
          </p:cNvSpPr>
          <p:nvPr>
            <p:ph type="dt" sz="half" idx="10"/>
          </p:nvPr>
        </p:nvSpPr>
        <p:spPr bwMode="gray"/>
        <p:txBody>
          <a:bodyPr/>
          <a:lstStyle>
            <a:lvl1pPr>
              <a:defRPr>
                <a:solidFill>
                  <a:schemeClr val="bg1"/>
                </a:solidFill>
              </a:defRPr>
            </a:lvl1pPr>
          </a:lstStyle>
          <a:p>
            <a:fld id="{08B3B7C1-E14D-4EAB-A71F-7EC5978795B3}" type="datetime1">
              <a:rPr lang="de-DE" smtClean="0"/>
              <a:t>15.01.2025</a:t>
            </a:fld>
            <a:endParaRPr lang="de-DE"/>
          </a:p>
        </p:txBody>
      </p:sp>
      <p:sp>
        <p:nvSpPr>
          <p:cNvPr id="6" name="Fußzeile"/>
          <p:cNvSpPr>
            <a:spLocks noGrp="1"/>
          </p:cNvSpPr>
          <p:nvPr>
            <p:ph type="ftr" sz="quarter" idx="11"/>
          </p:nvPr>
        </p:nvSpPr>
        <p:spPr bwMode="gray"/>
        <p:txBody>
          <a:bodyPr/>
          <a:lstStyle/>
          <a:p>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a:t>
            </a:fld>
            <a:endParaRPr lang="de-DE" noProof="0"/>
          </a:p>
        </p:txBody>
      </p:sp>
    </p:spTree>
    <p:extLst>
      <p:ext uri="{BB962C8B-B14F-4D97-AF65-F5344CB8AC3E}">
        <p14:creationId xmlns:p14="http://schemas.microsoft.com/office/powerpoint/2010/main" val="1280450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4x">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marL="0" indent="0">
              <a:buClr>
                <a:srgbClr val="0E2356"/>
              </a:buClr>
              <a:buSzPct val="110000"/>
              <a:buFont typeface="Source Sans Pro SemiBold" panose="020B0603030403020204" pitchFamily="34" charset="0"/>
              <a:buNone/>
              <a:defRPr b="1">
                <a:solidFill>
                  <a:srgbClr val="0E2356"/>
                </a:solidFill>
              </a:defRPr>
            </a:lvl1pPr>
          </a:lstStyle>
          <a:p>
            <a:r>
              <a:rPr lang="de-DE"/>
              <a:t>Titel: Agenda</a:t>
            </a:r>
          </a:p>
        </p:txBody>
      </p:sp>
      <p:sp>
        <p:nvSpPr>
          <p:cNvPr id="37" name="Datumsplatzhalter 36"/>
          <p:cNvSpPr>
            <a:spLocks noGrp="1"/>
          </p:cNvSpPr>
          <p:nvPr>
            <p:ph type="dt" sz="half" idx="25"/>
          </p:nvPr>
        </p:nvSpPr>
        <p:spPr/>
        <p:txBody>
          <a:bodyPr/>
          <a:lstStyle/>
          <a:p>
            <a:fld id="{4680A733-F83D-4D19-AF27-7B0B870C8599}" type="datetime1">
              <a:rPr lang="de-DE" noProof="0" smtClean="0"/>
              <a:t>15.01.2025</a:t>
            </a:fld>
            <a:endParaRPr lang="de-DE" noProof="0"/>
          </a:p>
        </p:txBody>
      </p:sp>
      <p:sp>
        <p:nvSpPr>
          <p:cNvPr id="38" name="Fußzeilenplatzhalter 37"/>
          <p:cNvSpPr>
            <a:spLocks noGrp="1"/>
          </p:cNvSpPr>
          <p:nvPr>
            <p:ph type="ftr" sz="quarter" idx="26"/>
          </p:nvPr>
        </p:nvSpPr>
        <p:spPr/>
        <p:txBody>
          <a:bodyPr/>
          <a:lstStyle/>
          <a:p>
            <a:r>
              <a:rPr lang="de-DE" noProof="0"/>
              <a:t>FZI Forschungszentrum Informatik</a:t>
            </a:r>
          </a:p>
        </p:txBody>
      </p:sp>
      <p:sp>
        <p:nvSpPr>
          <p:cNvPr id="39" name="Foliennummernplatzhalter 38"/>
          <p:cNvSpPr>
            <a:spLocks noGrp="1"/>
          </p:cNvSpPr>
          <p:nvPr>
            <p:ph type="sldNum" sz="quarter" idx="27"/>
          </p:nvPr>
        </p:nvSpPr>
        <p:spPr/>
        <p:txBody>
          <a:bodyPr/>
          <a:lstStyle/>
          <a:p>
            <a:fld id="{02CEFE82-39F2-4F47-8A0C-D5AB3496FA5C}" type="slidenum">
              <a:rPr lang="de-DE" noProof="0" smtClean="0"/>
              <a:pPr/>
              <a:t>‹#›</a:t>
            </a:fld>
            <a:endParaRPr lang="de-DE" noProof="0"/>
          </a:p>
        </p:txBody>
      </p:sp>
      <p:sp>
        <p:nvSpPr>
          <p:cNvPr id="6" name="Textplatzhalter 6"/>
          <p:cNvSpPr>
            <a:spLocks noGrp="1"/>
          </p:cNvSpPr>
          <p:nvPr>
            <p:ph type="body" sz="quarter" idx="13" hasCustomPrompt="1"/>
          </p:nvPr>
        </p:nvSpPr>
        <p:spPr>
          <a:xfrm>
            <a:off x="1119662" y="2237014"/>
            <a:ext cx="2921657" cy="816430"/>
          </a:xfrm>
        </p:spPr>
        <p:txBody>
          <a:bodyPr anchor="ctr"/>
          <a:lstStyle>
            <a:lvl1pPr marL="0" marR="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sp>
        <p:nvSpPr>
          <p:cNvPr id="7" name="Textplatzhalter 6"/>
          <p:cNvSpPr>
            <a:spLocks noGrp="1"/>
          </p:cNvSpPr>
          <p:nvPr>
            <p:ph type="body" sz="quarter" idx="16" hasCustomPrompt="1"/>
          </p:nvPr>
        </p:nvSpPr>
        <p:spPr>
          <a:xfrm>
            <a:off x="8126903" y="2258634"/>
            <a:ext cx="2921657" cy="816430"/>
          </a:xfrm>
        </p:spPr>
        <p:txBody>
          <a:bodyPr anchor="ctr"/>
          <a:lstStyle>
            <a:lvl1pPr marL="0" marR="0" indent="0" algn="l"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l" defTabSz="914400" rtl="0" eaLnBrk="1" fontAlgn="auto" latinLnBrk="0" hangingPunct="1">
              <a:lnSpc>
                <a:spcPct val="110000"/>
              </a:lnSpc>
              <a:spcBef>
                <a:spcPts val="0"/>
              </a:spcBef>
              <a:spcAft>
                <a:spcPts val="100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grpSp>
        <p:nvGrpSpPr>
          <p:cNvPr id="8" name="Gruppieren 7">
            <a:extLst>
              <a:ext uri="{FF2B5EF4-FFF2-40B4-BE49-F238E27FC236}">
                <a16:creationId xmlns:a16="http://schemas.microsoft.com/office/drawing/2014/main" id="{3658FF60-A033-48E9-BDCA-6A42745D0B3B}"/>
              </a:ext>
            </a:extLst>
          </p:cNvPr>
          <p:cNvGrpSpPr/>
          <p:nvPr userDrawn="1"/>
        </p:nvGrpSpPr>
        <p:grpSpPr bwMode="gray">
          <a:xfrm>
            <a:off x="4169829" y="2216849"/>
            <a:ext cx="1690746" cy="900000"/>
            <a:chOff x="3800475" y="1970965"/>
            <a:chExt cx="1690746" cy="900000"/>
          </a:xfrm>
        </p:grpSpPr>
        <p:sp>
          <p:nvSpPr>
            <p:cNvPr id="9" name="Rechteck 8">
              <a:extLst>
                <a:ext uri="{FF2B5EF4-FFF2-40B4-BE49-F238E27FC236}">
                  <a16:creationId xmlns:a16="http://schemas.microsoft.com/office/drawing/2014/main" id="{38291149-1D7F-44F6-8FDB-3A075DC88164}"/>
                </a:ext>
              </a:extLst>
            </p:cNvPr>
            <p:cNvSpPr>
              <a:spLocks noChangeAspect="1"/>
            </p:cNvSpPr>
            <p:nvPr/>
          </p:nvSpPr>
          <p:spPr bwMode="gray">
            <a:xfrm>
              <a:off x="4591221" y="1970965"/>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cxnSp>
          <p:nvCxnSpPr>
            <p:cNvPr id="10" name="Linie">
              <a:extLst>
                <a:ext uri="{FF2B5EF4-FFF2-40B4-BE49-F238E27FC236}">
                  <a16:creationId xmlns:a16="http://schemas.microsoft.com/office/drawing/2014/main" id="{ACE23054-734A-4241-98B8-08E94CC3689D}"/>
                </a:ext>
              </a:extLst>
            </p:cNvPr>
            <p:cNvCxnSpPr/>
            <p:nvPr/>
          </p:nvCxnSpPr>
          <p:spPr bwMode="gray">
            <a:xfrm>
              <a:off x="3800475" y="2420965"/>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11" name="Rechteck 10">
              <a:extLst>
                <a:ext uri="{FF2B5EF4-FFF2-40B4-BE49-F238E27FC236}">
                  <a16:creationId xmlns:a16="http://schemas.microsoft.com/office/drawing/2014/main" id="{879991E4-337A-4EE1-9574-3024761EC763}"/>
                </a:ext>
              </a:extLst>
            </p:cNvPr>
            <p:cNvSpPr/>
            <p:nvPr/>
          </p:nvSpPr>
          <p:spPr bwMode="gray">
            <a:xfrm>
              <a:off x="4681221" y="2060965"/>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1</a:t>
              </a:r>
            </a:p>
          </p:txBody>
        </p:sp>
      </p:grpSp>
      <p:grpSp>
        <p:nvGrpSpPr>
          <p:cNvPr id="12" name="Gruppieren 11">
            <a:extLst>
              <a:ext uri="{FF2B5EF4-FFF2-40B4-BE49-F238E27FC236}">
                <a16:creationId xmlns:a16="http://schemas.microsoft.com/office/drawing/2014/main" id="{8BF716C8-7FFF-4836-B4F3-F334F2D9BB39}"/>
              </a:ext>
            </a:extLst>
          </p:cNvPr>
          <p:cNvGrpSpPr/>
          <p:nvPr userDrawn="1"/>
        </p:nvGrpSpPr>
        <p:grpSpPr bwMode="gray">
          <a:xfrm>
            <a:off x="6328575" y="2216849"/>
            <a:ext cx="1692000" cy="900000"/>
            <a:chOff x="5959221" y="1988749"/>
            <a:chExt cx="1692000" cy="900000"/>
          </a:xfrm>
        </p:grpSpPr>
        <p:cxnSp>
          <p:nvCxnSpPr>
            <p:cNvPr id="13" name="Linie">
              <a:extLst>
                <a:ext uri="{FF2B5EF4-FFF2-40B4-BE49-F238E27FC236}">
                  <a16:creationId xmlns:a16="http://schemas.microsoft.com/office/drawing/2014/main" id="{8BC3BB71-3FE8-4B2A-86A8-8CCB487C316E}"/>
                </a:ext>
              </a:extLst>
            </p:cNvPr>
            <p:cNvCxnSpPr/>
            <p:nvPr/>
          </p:nvCxnSpPr>
          <p:spPr bwMode="gray">
            <a:xfrm>
              <a:off x="6859221" y="2438749"/>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grpSp>
          <p:nvGrpSpPr>
            <p:cNvPr id="14" name="Gruppieren 13">
              <a:extLst>
                <a:ext uri="{FF2B5EF4-FFF2-40B4-BE49-F238E27FC236}">
                  <a16:creationId xmlns:a16="http://schemas.microsoft.com/office/drawing/2014/main" id="{B5B891B7-F057-4CC6-9D13-72DA735006C3}"/>
                </a:ext>
              </a:extLst>
            </p:cNvPr>
            <p:cNvGrpSpPr/>
            <p:nvPr/>
          </p:nvGrpSpPr>
          <p:grpSpPr bwMode="gray">
            <a:xfrm>
              <a:off x="5959221" y="1988749"/>
              <a:ext cx="900000" cy="900000"/>
              <a:chOff x="5959221" y="1988749"/>
              <a:chExt cx="900000" cy="900000"/>
            </a:xfrm>
          </p:grpSpPr>
          <p:sp>
            <p:nvSpPr>
              <p:cNvPr id="15" name="Rechteck 14">
                <a:extLst>
                  <a:ext uri="{FF2B5EF4-FFF2-40B4-BE49-F238E27FC236}">
                    <a16:creationId xmlns:a16="http://schemas.microsoft.com/office/drawing/2014/main" id="{47D7545C-3656-4C94-A9E7-E5FA38619408}"/>
                  </a:ext>
                </a:extLst>
              </p:cNvPr>
              <p:cNvSpPr>
                <a:spLocks noChangeAspect="1"/>
              </p:cNvSpPr>
              <p:nvPr/>
            </p:nvSpPr>
            <p:spPr bwMode="gray">
              <a:xfrm>
                <a:off x="5959221" y="1988749"/>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sp>
            <p:nvSpPr>
              <p:cNvPr id="16" name="Rechteck 15">
                <a:extLst>
                  <a:ext uri="{FF2B5EF4-FFF2-40B4-BE49-F238E27FC236}">
                    <a16:creationId xmlns:a16="http://schemas.microsoft.com/office/drawing/2014/main" id="{852C4639-8369-4536-8770-9EF49424CC00}"/>
                  </a:ext>
                </a:extLst>
              </p:cNvPr>
              <p:cNvSpPr/>
              <p:nvPr/>
            </p:nvSpPr>
            <p:spPr bwMode="gray">
              <a:xfrm>
                <a:off x="6049221" y="207874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3</a:t>
                </a:r>
              </a:p>
            </p:txBody>
          </p:sp>
        </p:grpSp>
      </p:grpSp>
      <p:sp>
        <p:nvSpPr>
          <p:cNvPr id="17" name="Textplatzhalter 6"/>
          <p:cNvSpPr>
            <a:spLocks noGrp="1"/>
          </p:cNvSpPr>
          <p:nvPr>
            <p:ph type="body" sz="quarter" idx="21" hasCustomPrompt="1"/>
          </p:nvPr>
        </p:nvSpPr>
        <p:spPr>
          <a:xfrm>
            <a:off x="1119662" y="3581516"/>
            <a:ext cx="2921657" cy="816430"/>
          </a:xfrm>
        </p:spPr>
        <p:txBody>
          <a:bodyPr anchor="ctr"/>
          <a:lstStyle>
            <a:lvl1pPr marL="0" marR="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sp>
        <p:nvSpPr>
          <p:cNvPr id="18" name="Textplatzhalter 6"/>
          <p:cNvSpPr>
            <a:spLocks noGrp="1"/>
          </p:cNvSpPr>
          <p:nvPr>
            <p:ph type="body" sz="quarter" idx="22" hasCustomPrompt="1"/>
          </p:nvPr>
        </p:nvSpPr>
        <p:spPr>
          <a:xfrm>
            <a:off x="8126903" y="3603136"/>
            <a:ext cx="2921657" cy="816430"/>
          </a:xfrm>
        </p:spPr>
        <p:txBody>
          <a:bodyPr anchor="ctr"/>
          <a:lstStyle>
            <a:lvl1pPr marL="0" marR="0" indent="0" algn="l"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l" defTabSz="914400" rtl="0" eaLnBrk="1" fontAlgn="auto" latinLnBrk="0" hangingPunct="1">
              <a:lnSpc>
                <a:spcPct val="110000"/>
              </a:lnSpc>
              <a:spcBef>
                <a:spcPts val="0"/>
              </a:spcBef>
              <a:spcAft>
                <a:spcPts val="100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grpSp>
        <p:nvGrpSpPr>
          <p:cNvPr id="19" name="Gruppieren 18">
            <a:extLst>
              <a:ext uri="{FF2B5EF4-FFF2-40B4-BE49-F238E27FC236}">
                <a16:creationId xmlns:a16="http://schemas.microsoft.com/office/drawing/2014/main" id="{3658FF60-A033-48E9-BDCA-6A42745D0B3B}"/>
              </a:ext>
            </a:extLst>
          </p:cNvPr>
          <p:cNvGrpSpPr/>
          <p:nvPr userDrawn="1"/>
        </p:nvGrpSpPr>
        <p:grpSpPr bwMode="gray">
          <a:xfrm>
            <a:off x="4169829" y="3561351"/>
            <a:ext cx="1690746" cy="900000"/>
            <a:chOff x="3800475" y="1970965"/>
            <a:chExt cx="1690746" cy="900000"/>
          </a:xfrm>
        </p:grpSpPr>
        <p:sp>
          <p:nvSpPr>
            <p:cNvPr id="20" name="Rechteck 19">
              <a:extLst>
                <a:ext uri="{FF2B5EF4-FFF2-40B4-BE49-F238E27FC236}">
                  <a16:creationId xmlns:a16="http://schemas.microsoft.com/office/drawing/2014/main" id="{38291149-1D7F-44F6-8FDB-3A075DC88164}"/>
                </a:ext>
              </a:extLst>
            </p:cNvPr>
            <p:cNvSpPr>
              <a:spLocks noChangeAspect="1"/>
            </p:cNvSpPr>
            <p:nvPr/>
          </p:nvSpPr>
          <p:spPr bwMode="gray">
            <a:xfrm>
              <a:off x="4591221" y="1970965"/>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cxnSp>
          <p:nvCxnSpPr>
            <p:cNvPr id="21" name="Linie">
              <a:extLst>
                <a:ext uri="{FF2B5EF4-FFF2-40B4-BE49-F238E27FC236}">
                  <a16:creationId xmlns:a16="http://schemas.microsoft.com/office/drawing/2014/main" id="{ACE23054-734A-4241-98B8-08E94CC3689D}"/>
                </a:ext>
              </a:extLst>
            </p:cNvPr>
            <p:cNvCxnSpPr/>
            <p:nvPr/>
          </p:nvCxnSpPr>
          <p:spPr bwMode="gray">
            <a:xfrm>
              <a:off x="3800475" y="2420965"/>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22" name="Rechteck 21">
              <a:extLst>
                <a:ext uri="{FF2B5EF4-FFF2-40B4-BE49-F238E27FC236}">
                  <a16:creationId xmlns:a16="http://schemas.microsoft.com/office/drawing/2014/main" id="{879991E4-337A-4EE1-9574-3024761EC763}"/>
                </a:ext>
              </a:extLst>
            </p:cNvPr>
            <p:cNvSpPr/>
            <p:nvPr/>
          </p:nvSpPr>
          <p:spPr bwMode="gray">
            <a:xfrm>
              <a:off x="4681221" y="2060965"/>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2</a:t>
              </a:r>
            </a:p>
          </p:txBody>
        </p:sp>
      </p:grpSp>
      <p:grpSp>
        <p:nvGrpSpPr>
          <p:cNvPr id="23" name="Gruppieren 22">
            <a:extLst>
              <a:ext uri="{FF2B5EF4-FFF2-40B4-BE49-F238E27FC236}">
                <a16:creationId xmlns:a16="http://schemas.microsoft.com/office/drawing/2014/main" id="{8BF716C8-7FFF-4836-B4F3-F334F2D9BB39}"/>
              </a:ext>
            </a:extLst>
          </p:cNvPr>
          <p:cNvGrpSpPr/>
          <p:nvPr userDrawn="1"/>
        </p:nvGrpSpPr>
        <p:grpSpPr bwMode="gray">
          <a:xfrm>
            <a:off x="6328575" y="3561351"/>
            <a:ext cx="1692000" cy="900000"/>
            <a:chOff x="5959221" y="1988749"/>
            <a:chExt cx="1692000" cy="900000"/>
          </a:xfrm>
        </p:grpSpPr>
        <p:cxnSp>
          <p:nvCxnSpPr>
            <p:cNvPr id="24" name="Linie">
              <a:extLst>
                <a:ext uri="{FF2B5EF4-FFF2-40B4-BE49-F238E27FC236}">
                  <a16:creationId xmlns:a16="http://schemas.microsoft.com/office/drawing/2014/main" id="{8BC3BB71-3FE8-4B2A-86A8-8CCB487C316E}"/>
                </a:ext>
              </a:extLst>
            </p:cNvPr>
            <p:cNvCxnSpPr/>
            <p:nvPr/>
          </p:nvCxnSpPr>
          <p:spPr bwMode="gray">
            <a:xfrm>
              <a:off x="6859221" y="2438749"/>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grpSp>
          <p:nvGrpSpPr>
            <p:cNvPr id="25" name="Gruppieren 24">
              <a:extLst>
                <a:ext uri="{FF2B5EF4-FFF2-40B4-BE49-F238E27FC236}">
                  <a16:creationId xmlns:a16="http://schemas.microsoft.com/office/drawing/2014/main" id="{B5B891B7-F057-4CC6-9D13-72DA735006C3}"/>
                </a:ext>
              </a:extLst>
            </p:cNvPr>
            <p:cNvGrpSpPr/>
            <p:nvPr/>
          </p:nvGrpSpPr>
          <p:grpSpPr bwMode="gray">
            <a:xfrm>
              <a:off x="5959221" y="1988749"/>
              <a:ext cx="900000" cy="900000"/>
              <a:chOff x="5959221" y="1988749"/>
              <a:chExt cx="900000" cy="900000"/>
            </a:xfrm>
          </p:grpSpPr>
          <p:sp>
            <p:nvSpPr>
              <p:cNvPr id="26" name="Rechteck 25">
                <a:extLst>
                  <a:ext uri="{FF2B5EF4-FFF2-40B4-BE49-F238E27FC236}">
                    <a16:creationId xmlns:a16="http://schemas.microsoft.com/office/drawing/2014/main" id="{47D7545C-3656-4C94-A9E7-E5FA38619408}"/>
                  </a:ext>
                </a:extLst>
              </p:cNvPr>
              <p:cNvSpPr>
                <a:spLocks noChangeAspect="1"/>
              </p:cNvSpPr>
              <p:nvPr/>
            </p:nvSpPr>
            <p:spPr bwMode="gray">
              <a:xfrm>
                <a:off x="5959221" y="1988749"/>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sp>
            <p:nvSpPr>
              <p:cNvPr id="27" name="Rechteck 26">
                <a:extLst>
                  <a:ext uri="{FF2B5EF4-FFF2-40B4-BE49-F238E27FC236}">
                    <a16:creationId xmlns:a16="http://schemas.microsoft.com/office/drawing/2014/main" id="{852C4639-8369-4536-8770-9EF49424CC00}"/>
                  </a:ext>
                </a:extLst>
              </p:cNvPr>
              <p:cNvSpPr/>
              <p:nvPr/>
            </p:nvSpPr>
            <p:spPr bwMode="gray">
              <a:xfrm>
                <a:off x="6049221" y="207874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4</a:t>
                </a:r>
              </a:p>
            </p:txBody>
          </p:sp>
        </p:grpSp>
      </p:grpSp>
      <p:sp>
        <p:nvSpPr>
          <p:cNvPr id="4" name="Textplatzhalter 3">
            <a:extLst>
              <a:ext uri="{FF2B5EF4-FFF2-40B4-BE49-F238E27FC236}">
                <a16:creationId xmlns:a16="http://schemas.microsoft.com/office/drawing/2014/main" id="{E5099914-7874-4637-AE82-C43268E2E775}"/>
              </a:ext>
            </a:extLst>
          </p:cNvPr>
          <p:cNvSpPr>
            <a:spLocks noGrp="1"/>
          </p:cNvSpPr>
          <p:nvPr>
            <p:ph type="body" sz="quarter" idx="28" hasCustomPrompt="1"/>
          </p:nvPr>
        </p:nvSpPr>
        <p:spPr>
          <a:xfrm>
            <a:off x="539750" y="971685"/>
            <a:ext cx="10387013" cy="528638"/>
          </a:xfrm>
        </p:spPr>
        <p:txBody>
          <a:bodyPr/>
          <a:lstStyle>
            <a:lvl1pPr marL="0" indent="0">
              <a:buNone/>
              <a:defRPr sz="2000">
                <a:solidFill>
                  <a:srgbClr val="2FAE7A"/>
                </a:solidFill>
              </a:defRPr>
            </a:lvl1pPr>
          </a:lstStyle>
          <a:p>
            <a:pPr lvl="0"/>
            <a:r>
              <a:rPr lang="de-DE"/>
              <a:t>Das ist eine optionale </a:t>
            </a:r>
            <a:r>
              <a:rPr lang="de-DE" err="1"/>
              <a:t>Subline</a:t>
            </a:r>
            <a:r>
              <a:rPr lang="de-DE"/>
              <a:t>. Bei Nichtnutzung einfach löschen. </a:t>
            </a:r>
          </a:p>
        </p:txBody>
      </p:sp>
    </p:spTree>
    <p:extLst>
      <p:ext uri="{BB962C8B-B14F-4D97-AF65-F5344CB8AC3E}">
        <p14:creationId xmlns:p14="http://schemas.microsoft.com/office/powerpoint/2010/main" val="2284057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Bild und Text">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EFEAA933-DAAA-45A7-9A73-E4B7C3A8BB95}"/>
              </a:ext>
            </a:extLst>
          </p:cNvPr>
          <p:cNvSpPr>
            <a:spLocks noGrp="1"/>
          </p:cNvSpPr>
          <p:nvPr>
            <p:ph type="pic" sz="quarter" idx="16"/>
          </p:nvPr>
        </p:nvSpPr>
        <p:spPr>
          <a:xfrm>
            <a:off x="0" y="1511300"/>
            <a:ext cx="4388400" cy="2376000"/>
          </a:xfrm>
          <a:solidFill>
            <a:srgbClr val="E1E1E1"/>
          </a:solidFill>
        </p:spPr>
        <p:txBody>
          <a:bodyPr vert="horz" wrap="square" lIns="180000" tIns="180000" rIns="180000" bIns="180000" rtlCol="0">
            <a:noAutofit/>
          </a:bodyPr>
          <a:lstStyle>
            <a:lvl1pPr>
              <a:defRPr lang="en-US">
                <a:solidFill>
                  <a:schemeClr val="tx2">
                    <a:lumMod val="75000"/>
                  </a:schemeClr>
                </a:solidFill>
              </a:defRPr>
            </a:lvl1pPr>
          </a:lstStyle>
          <a:p>
            <a:pPr marL="0" lvl="0" indent="0">
              <a:buNone/>
            </a:pPr>
            <a:r>
              <a:rPr lang="de-DE"/>
              <a:t>Bild durch Klicken auf Symbol hinzufügen</a:t>
            </a:r>
            <a:endParaRPr lang="en-US"/>
          </a:p>
        </p:txBody>
      </p:sp>
      <p:sp>
        <p:nvSpPr>
          <p:cNvPr id="3" name="Inhalt"/>
          <p:cNvSpPr>
            <a:spLocks noGrp="1"/>
          </p:cNvSpPr>
          <p:nvPr>
            <p:ph sz="half" idx="1" hasCustomPrompt="1"/>
          </p:nvPr>
        </p:nvSpPr>
        <p:spPr bwMode="gray">
          <a:xfrm>
            <a:off x="542924" y="4137102"/>
            <a:ext cx="11102975" cy="1673298"/>
          </a:xfrm>
        </p:spPr>
        <p:txBody>
          <a:bodyPr/>
          <a:lstStyle>
            <a:lvl1pPr>
              <a:defRPr sz="1600"/>
            </a:lvl1pPr>
            <a:lvl2pPr>
              <a:defRPr sz="1400"/>
            </a:lvl2pPr>
            <a:lvl3pPr>
              <a:defRPr sz="1200"/>
            </a:lvl3pPr>
            <a:lvl4pPr>
              <a:defRPr sz="1050"/>
            </a:lvl4pPr>
            <a:lvl5pPr marL="1530000" indent="0">
              <a:buNone/>
              <a:defRPr sz="16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
        <p:nvSpPr>
          <p:cNvPr id="10" name="Textplatzhalter 9">
            <a:extLst>
              <a:ext uri="{FF2B5EF4-FFF2-40B4-BE49-F238E27FC236}">
                <a16:creationId xmlns:a16="http://schemas.microsoft.com/office/drawing/2014/main" id="{52366964-C006-4DCF-BDAA-25754231FB7F}"/>
              </a:ext>
            </a:extLst>
          </p:cNvPr>
          <p:cNvSpPr>
            <a:spLocks noGrp="1"/>
          </p:cNvSpPr>
          <p:nvPr>
            <p:ph type="body" sz="quarter" idx="17" hasCustomPrompt="1"/>
          </p:nvPr>
        </p:nvSpPr>
        <p:spPr>
          <a:xfrm>
            <a:off x="4387850" y="1511300"/>
            <a:ext cx="7802563" cy="2377051"/>
          </a:xfrm>
          <a:solidFill>
            <a:schemeClr val="accent3"/>
          </a:solidFill>
          <a:ln>
            <a:noFill/>
          </a:ln>
        </p:spPr>
        <p:txBody>
          <a:bodyPr vert="horz" lIns="540000" tIns="180000" rIns="540000" bIns="180000" rtlCol="0" anchor="ctr">
            <a:noAutofit/>
          </a:bodyPr>
          <a:lstStyle>
            <a:lvl1pPr marL="0" indent="0">
              <a:buClr>
                <a:schemeClr val="bg1"/>
              </a:buClr>
              <a:buNone/>
              <a:defRPr lang="de-DE" sz="1400" b="0" smtClean="0">
                <a:solidFill>
                  <a:schemeClr val="bg1"/>
                </a:solidFill>
                <a:latin typeface="Source Sans Pro" panose="020B0503030403020204" pitchFamily="34" charset="0"/>
              </a:defRPr>
            </a:lvl1pPr>
            <a:lvl2pPr>
              <a:defRPr lang="de-DE" b="0" smtClean="0">
                <a:solidFill>
                  <a:schemeClr val="bg1"/>
                </a:solidFill>
                <a:latin typeface="+mn-lt"/>
              </a:defRPr>
            </a:lvl2pPr>
            <a:lvl3pPr>
              <a:defRPr lang="de-DE" b="0" smtClean="0">
                <a:solidFill>
                  <a:schemeClr val="bg1"/>
                </a:solidFill>
                <a:latin typeface="+mn-lt"/>
              </a:defRPr>
            </a:lvl3pPr>
            <a:lvl4pPr>
              <a:defRPr lang="de-DE" b="0" smtClean="0">
                <a:solidFill>
                  <a:schemeClr val="bg1"/>
                </a:solidFill>
                <a:latin typeface="+mn-lt"/>
              </a:defRPr>
            </a:lvl4pPr>
            <a:lvl5pPr>
              <a:defRPr lang="de-DE" b="0">
                <a:solidFill>
                  <a:schemeClr val="bg1"/>
                </a:solidFill>
                <a:latin typeface="+mn-lt"/>
              </a:defRPr>
            </a:lvl5pPr>
          </a:lstStyle>
          <a:p>
            <a:pPr marL="270000" lvl="0" indent="-270000"/>
            <a:r>
              <a:rPr lang="de-DE"/>
              <a:t>Textmasterformat bearbeiten</a:t>
            </a:r>
          </a:p>
        </p:txBody>
      </p:sp>
      <p:sp>
        <p:nvSpPr>
          <p:cNvPr id="4" name="Titel 3">
            <a:extLst>
              <a:ext uri="{FF2B5EF4-FFF2-40B4-BE49-F238E27FC236}">
                <a16:creationId xmlns:a16="http://schemas.microsoft.com/office/drawing/2014/main" id="{69D71D7A-6CBA-4F97-87B3-4BD6DCA9A4DD}"/>
              </a:ext>
            </a:extLst>
          </p:cNvPr>
          <p:cNvSpPr>
            <a:spLocks noGrp="1"/>
          </p:cNvSpPr>
          <p:nvPr>
            <p:ph type="title" hasCustomPrompt="1"/>
          </p:nvPr>
        </p:nvSpPr>
        <p:spPr/>
        <p:txBody>
          <a:bodyPr/>
          <a:lstStyle>
            <a:lvl1pPr marL="0" indent="0">
              <a:buClr>
                <a:srgbClr val="002456"/>
              </a:buClr>
              <a:buSzPct val="110000"/>
              <a:buFont typeface="Source Sans Pro" panose="020B05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5" name="Datumsplatzhalter 4"/>
          <p:cNvSpPr>
            <a:spLocks noGrp="1"/>
          </p:cNvSpPr>
          <p:nvPr>
            <p:ph type="dt" sz="half" idx="18"/>
          </p:nvPr>
        </p:nvSpPr>
        <p:spPr/>
        <p:txBody>
          <a:bodyPr/>
          <a:lstStyle/>
          <a:p>
            <a:fld id="{4680A733-F83D-4D19-AF27-7B0B870C8599}" type="datetime1">
              <a:rPr lang="de-DE" noProof="0" smtClean="0"/>
              <a:t>15.01.2025</a:t>
            </a:fld>
            <a:endParaRPr lang="de-DE" noProof="0"/>
          </a:p>
        </p:txBody>
      </p:sp>
      <p:sp>
        <p:nvSpPr>
          <p:cNvPr id="6" name="Fußzeilenplatzhalter 5"/>
          <p:cNvSpPr>
            <a:spLocks noGrp="1"/>
          </p:cNvSpPr>
          <p:nvPr>
            <p:ph type="ftr" sz="quarter" idx="19"/>
          </p:nvPr>
        </p:nvSpPr>
        <p:spPr/>
        <p:txBody>
          <a:bodyPr/>
          <a:lstStyle/>
          <a:p>
            <a:r>
              <a:rPr lang="de-DE" noProof="0"/>
              <a:t>FZI Forschungszentrum Informatik</a:t>
            </a:r>
          </a:p>
        </p:txBody>
      </p:sp>
      <p:sp>
        <p:nvSpPr>
          <p:cNvPr id="7" name="Foliennummernplatzhalter 6"/>
          <p:cNvSpPr>
            <a:spLocks noGrp="1"/>
          </p:cNvSpPr>
          <p:nvPr>
            <p:ph type="sldNum" sz="quarter" idx="20"/>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7490618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6x Content und Bild">
    <p:spTree>
      <p:nvGrpSpPr>
        <p:cNvPr id="1" name=""/>
        <p:cNvGrpSpPr/>
        <p:nvPr/>
      </p:nvGrpSpPr>
      <p:grpSpPr>
        <a:xfrm>
          <a:off x="0" y="0"/>
          <a:ext cx="0" cy="0"/>
          <a:chOff x="0" y="0"/>
          <a:chExt cx="0" cy="0"/>
        </a:xfrm>
      </p:grpSpPr>
      <p:sp>
        <p:nvSpPr>
          <p:cNvPr id="3" name="Inhalt"/>
          <p:cNvSpPr>
            <a:spLocks noGrp="1"/>
          </p:cNvSpPr>
          <p:nvPr>
            <p:ph sz="half" idx="1" hasCustomPrompt="1"/>
          </p:nvPr>
        </p:nvSpPr>
        <p:spPr bwMode="gray">
          <a:xfrm>
            <a:off x="540000" y="1512000"/>
            <a:ext cx="3607198" cy="1335600"/>
          </a:xfrm>
          <a:solidFill>
            <a:schemeClr val="bg1">
              <a:lumMod val="95000"/>
            </a:schemeClr>
          </a:solidFill>
        </p:spPr>
        <p:txBody>
          <a:bodyPr vert="horz" lIns="180000" tIns="180000" rIns="180000" bIns="180000" rtlCol="0">
            <a:noAutofit/>
          </a:bodyPr>
          <a:lstStyle>
            <a:lvl1pPr marL="270000" indent="-270000">
              <a:buClr>
                <a:srgbClr val="2FAE7A"/>
              </a:buClr>
              <a:buFont typeface="Source Sans Pro Black" panose="020B0803030403020204" pitchFamily="34" charset="0"/>
              <a:buChar char="‒"/>
              <a:defRPr lang="de-DE" sz="1400" noProof="0" dirty="0">
                <a:solidFill>
                  <a:schemeClr val="tx2">
                    <a:lumMod val="75000"/>
                  </a:schemeClr>
                </a:solidFill>
              </a:defRPr>
            </a:lvl1pPr>
            <a:lvl2pPr marL="720000" indent="-270000">
              <a:buClr>
                <a:srgbClr val="2FAE7A"/>
              </a:buClr>
              <a:buFont typeface="Source Sans Pro Black" panose="020B0803030403020204" pitchFamily="34" charset="0"/>
              <a:buChar char="‒"/>
              <a:defRPr lang="de-DE" sz="1200" noProof="0" dirty="0">
                <a:solidFill>
                  <a:schemeClr val="tx2">
                    <a:lumMod val="75000"/>
                  </a:schemeClr>
                </a:solidFill>
              </a:defRPr>
            </a:lvl2pPr>
            <a:lvl3pPr marL="1080000" indent="-270000">
              <a:buClr>
                <a:srgbClr val="2FAE7A"/>
              </a:buClr>
              <a:buFont typeface="Source Sans Pro Black" panose="020B0803030403020204" pitchFamily="34" charset="0"/>
              <a:buChar cha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20" name="Inhaltsplatzhalter 19">
            <a:extLst>
              <a:ext uri="{FF2B5EF4-FFF2-40B4-BE49-F238E27FC236}">
                <a16:creationId xmlns:a16="http://schemas.microsoft.com/office/drawing/2014/main" id="{55E41B23-5F82-48E6-BCC2-2142B4075E73}"/>
              </a:ext>
            </a:extLst>
          </p:cNvPr>
          <p:cNvSpPr>
            <a:spLocks noGrp="1"/>
          </p:cNvSpPr>
          <p:nvPr>
            <p:ph sz="half" idx="17" hasCustomPrompt="1"/>
          </p:nvPr>
        </p:nvSpPr>
        <p:spPr bwMode="gray">
          <a:xfrm>
            <a:off x="4300927" y="1512000"/>
            <a:ext cx="3607198" cy="1335600"/>
          </a:xfrm>
          <a:prstGeom prst="rect">
            <a:avLst/>
          </a:prstGeom>
          <a:solidFill>
            <a:schemeClr val="bg1">
              <a:lumMod val="95000"/>
            </a:schemeClr>
          </a:solidFill>
        </p:spPr>
        <p:txBody>
          <a:bodyPr vert="horz" wrap="square" lIns="180000" tIns="180000" rIns="180000" bIns="180000" rtlCol="0">
            <a:noAutofit/>
          </a:bodyPr>
          <a:lstStyle>
            <a:lvl1pPr marL="270000" indent="-270000">
              <a:buClr>
                <a:srgbClr val="2FAE7A"/>
              </a:buClr>
              <a:buFont typeface="Source Sans Pro Black" panose="020B0803030403020204" pitchFamily="34" charset="0"/>
              <a:buChar char="‒"/>
              <a:defRPr lang="de-DE" sz="1400" noProof="0" dirty="0">
                <a:solidFill>
                  <a:schemeClr val="tx2">
                    <a:lumMod val="75000"/>
                  </a:schemeClr>
                </a:solidFill>
              </a:defRPr>
            </a:lvl1pPr>
            <a:lvl2pPr marL="720000" indent="-270000">
              <a:buClr>
                <a:srgbClr val="2FAE7A"/>
              </a:buClr>
              <a:buFont typeface="Source Sans Pro Black" panose="020B0803030403020204" pitchFamily="34" charset="0"/>
              <a:buChar char="‒"/>
              <a:defRPr lang="de-DE" sz="1200" noProof="0" dirty="0">
                <a:solidFill>
                  <a:schemeClr val="tx2">
                    <a:lumMod val="75000"/>
                  </a:schemeClr>
                </a:solidFill>
              </a:defRPr>
            </a:lvl2pPr>
            <a:lvl3pPr marL="1080000" indent="-270000">
              <a:buClr>
                <a:srgbClr val="2FAE7A"/>
              </a:buClr>
              <a:buFont typeface="Source Sans Pro Black" panose="020B0803030403020204" pitchFamily="34" charset="0"/>
              <a:buChar cha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4" name="Datumsplatzhalter 3"/>
          <p:cNvSpPr>
            <a:spLocks noGrp="1"/>
          </p:cNvSpPr>
          <p:nvPr>
            <p:ph type="dt" sz="half" idx="22"/>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23"/>
          </p:nvPr>
        </p:nvSpPr>
        <p:spPr/>
        <p:txBody>
          <a:bodyPr/>
          <a:lstStyle/>
          <a:p>
            <a:r>
              <a:rPr lang="de-DE" noProof="0"/>
              <a:t>FZI Forschungszentrum Informatik</a:t>
            </a:r>
          </a:p>
        </p:txBody>
      </p:sp>
      <p:sp>
        <p:nvSpPr>
          <p:cNvPr id="10" name="Foliennummernplatzhalter 9"/>
          <p:cNvSpPr>
            <a:spLocks noGrp="1"/>
          </p:cNvSpPr>
          <p:nvPr>
            <p:ph type="sldNum" sz="quarter" idx="24"/>
          </p:nvPr>
        </p:nvSpPr>
        <p:spPr/>
        <p:txBody>
          <a:bodyPr/>
          <a:lstStyle/>
          <a:p>
            <a:fld id="{02CEFE82-39F2-4F47-8A0C-D5AB3496FA5C}" type="slidenum">
              <a:rPr lang="de-DE" noProof="0" smtClean="0"/>
              <a:pPr/>
              <a:t>‹#›</a:t>
            </a:fld>
            <a:endParaRPr lang="de-DE" noProof="0"/>
          </a:p>
        </p:txBody>
      </p:sp>
      <p:sp>
        <p:nvSpPr>
          <p:cNvPr id="17" name="Titel 2">
            <a:extLst>
              <a:ext uri="{FF2B5EF4-FFF2-40B4-BE49-F238E27FC236}">
                <a16:creationId xmlns:a16="http://schemas.microsoft.com/office/drawing/2014/main" id="{5D7A489B-02B9-4503-A940-ADBDC68BD7BD}"/>
              </a:ext>
            </a:extLst>
          </p:cNvPr>
          <p:cNvSpPr>
            <a:spLocks noGrp="1"/>
          </p:cNvSpPr>
          <p:nvPr>
            <p:ph type="title" hasCustomPrompt="1"/>
          </p:nvPr>
        </p:nvSpPr>
        <p:spPr>
          <a:xfrm>
            <a:off x="540000" y="432000"/>
            <a:ext cx="7433121" cy="539685"/>
          </a:xfrm>
        </p:spPr>
        <p:txBody>
          <a:bodyPr/>
          <a:lstStyle>
            <a:lvl1pPr marL="0" indent="0">
              <a:buClr>
                <a:srgbClr val="0E2356"/>
              </a:buClr>
              <a:buSzPct val="110000"/>
              <a:buFont typeface="Source Sans Pro SemiBold" panose="020B0603030403020204" pitchFamily="34" charset="0"/>
              <a:buNone/>
              <a:defRPr b="1">
                <a:solidFill>
                  <a:srgbClr val="0E2356"/>
                </a:solidFill>
              </a:defRPr>
            </a:lvl1pPr>
          </a:lstStyle>
          <a:p>
            <a:r>
              <a:rPr lang="de-DE"/>
              <a:t>Titelmasterformat bearbeiten</a:t>
            </a:r>
          </a:p>
        </p:txBody>
      </p:sp>
      <p:sp>
        <p:nvSpPr>
          <p:cNvPr id="18" name="Inhalt"/>
          <p:cNvSpPr>
            <a:spLocks noGrp="1"/>
          </p:cNvSpPr>
          <p:nvPr>
            <p:ph sz="half" idx="25" hasCustomPrompt="1"/>
          </p:nvPr>
        </p:nvSpPr>
        <p:spPr bwMode="gray">
          <a:xfrm>
            <a:off x="540000" y="2997617"/>
            <a:ext cx="3607198" cy="1335600"/>
          </a:xfrm>
          <a:solidFill>
            <a:schemeClr val="bg1">
              <a:lumMod val="95000"/>
            </a:schemeClr>
          </a:solidFill>
        </p:spPr>
        <p:txBody>
          <a:bodyPr vert="horz" lIns="180000" tIns="180000" rIns="180000" bIns="180000" rtlCol="0">
            <a:noAutofit/>
          </a:bodyPr>
          <a:lstStyle>
            <a:lvl1pPr marL="270000" indent="-270000">
              <a:buClr>
                <a:srgbClr val="2FAE7A"/>
              </a:buClr>
              <a:buFont typeface="Source Sans Pro Black" panose="020B0803030403020204" pitchFamily="34" charset="0"/>
              <a:buChar char="‒"/>
              <a:defRPr lang="de-DE" sz="1400" noProof="0" dirty="0">
                <a:solidFill>
                  <a:schemeClr val="tx2">
                    <a:lumMod val="75000"/>
                  </a:schemeClr>
                </a:solidFill>
              </a:defRPr>
            </a:lvl1pPr>
            <a:lvl2pPr marL="720000" indent="-270000">
              <a:buClr>
                <a:srgbClr val="2FAE7A"/>
              </a:buClr>
              <a:buFont typeface="Source Sans Pro Black" panose="020B0803030403020204" pitchFamily="34" charset="0"/>
              <a:buChar char="‒"/>
              <a:defRPr lang="de-DE" sz="1200" noProof="0" dirty="0">
                <a:solidFill>
                  <a:schemeClr val="tx2">
                    <a:lumMod val="75000"/>
                  </a:schemeClr>
                </a:solidFill>
              </a:defRPr>
            </a:lvl2pPr>
            <a:lvl3pPr marL="1080000" indent="-270000">
              <a:buClr>
                <a:srgbClr val="2FAE7A"/>
              </a:buClr>
              <a:buFont typeface="Source Sans Pro Black" panose="020B0803030403020204" pitchFamily="34" charset="0"/>
              <a:buChar cha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19" name="Inhalt"/>
          <p:cNvSpPr>
            <a:spLocks noGrp="1"/>
          </p:cNvSpPr>
          <p:nvPr>
            <p:ph sz="half" idx="26" hasCustomPrompt="1"/>
          </p:nvPr>
        </p:nvSpPr>
        <p:spPr bwMode="gray">
          <a:xfrm>
            <a:off x="540000" y="4483234"/>
            <a:ext cx="3607198" cy="1335600"/>
          </a:xfrm>
          <a:solidFill>
            <a:schemeClr val="bg1">
              <a:lumMod val="95000"/>
            </a:schemeClr>
          </a:solidFill>
        </p:spPr>
        <p:txBody>
          <a:bodyPr vert="horz" lIns="180000" tIns="180000" rIns="180000" bIns="180000" rtlCol="0">
            <a:noAutofit/>
          </a:bodyPr>
          <a:lstStyle>
            <a:lvl1pPr marL="270000" indent="-270000">
              <a:buClr>
                <a:srgbClr val="2FAE7A"/>
              </a:buClr>
              <a:buFont typeface="Source Sans Pro Black" panose="020B0803030403020204" pitchFamily="34" charset="0"/>
              <a:buChar char="‒"/>
              <a:defRPr lang="de-DE" sz="1400" noProof="0" dirty="0">
                <a:solidFill>
                  <a:schemeClr val="tx2">
                    <a:lumMod val="75000"/>
                  </a:schemeClr>
                </a:solidFill>
              </a:defRPr>
            </a:lvl1pPr>
            <a:lvl2pPr marL="720000" indent="-270000">
              <a:buClr>
                <a:srgbClr val="2FAE7A"/>
              </a:buClr>
              <a:buFont typeface="Source Sans Pro Black" panose="020B0803030403020204" pitchFamily="34" charset="0"/>
              <a:buChar char="‒"/>
              <a:defRPr lang="de-DE" sz="1200" noProof="0" dirty="0">
                <a:solidFill>
                  <a:schemeClr val="tx2">
                    <a:lumMod val="75000"/>
                  </a:schemeClr>
                </a:solidFill>
              </a:defRPr>
            </a:lvl2pPr>
            <a:lvl3pPr marL="1080000" indent="-270000">
              <a:buClr>
                <a:srgbClr val="2FAE7A"/>
              </a:buClr>
              <a:buFont typeface="Source Sans Pro Black" panose="020B0803030403020204" pitchFamily="34" charset="0"/>
              <a:buChar cha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21" name="Inhalt"/>
          <p:cNvSpPr>
            <a:spLocks noGrp="1"/>
          </p:cNvSpPr>
          <p:nvPr>
            <p:ph sz="half" idx="27" hasCustomPrompt="1"/>
          </p:nvPr>
        </p:nvSpPr>
        <p:spPr bwMode="gray">
          <a:xfrm>
            <a:off x="4300927" y="2997066"/>
            <a:ext cx="3607198" cy="1335600"/>
          </a:xfrm>
          <a:solidFill>
            <a:schemeClr val="bg1">
              <a:lumMod val="95000"/>
            </a:schemeClr>
          </a:solidFill>
        </p:spPr>
        <p:txBody>
          <a:bodyPr vert="horz" lIns="180000" tIns="180000" rIns="180000" bIns="180000" rtlCol="0">
            <a:noAutofit/>
          </a:bodyPr>
          <a:lstStyle>
            <a:lvl1pPr marL="270000" indent="-270000">
              <a:buClr>
                <a:srgbClr val="2FAE7A"/>
              </a:buClr>
              <a:buFont typeface="Source Sans Pro Black" panose="020B0803030403020204" pitchFamily="34" charset="0"/>
              <a:buChar char="‒"/>
              <a:defRPr lang="de-DE" sz="1400" noProof="0" dirty="0">
                <a:solidFill>
                  <a:schemeClr val="tx2">
                    <a:lumMod val="75000"/>
                  </a:schemeClr>
                </a:solidFill>
              </a:defRPr>
            </a:lvl1pPr>
            <a:lvl2pPr marL="720000" indent="-270000">
              <a:buClr>
                <a:srgbClr val="2FAE7A"/>
              </a:buClr>
              <a:buFont typeface="Source Sans Pro Black" panose="020B0803030403020204" pitchFamily="34" charset="0"/>
              <a:buChar char="‒"/>
              <a:defRPr lang="de-DE" sz="1200" noProof="0" dirty="0">
                <a:solidFill>
                  <a:schemeClr val="tx2">
                    <a:lumMod val="75000"/>
                  </a:schemeClr>
                </a:solidFill>
              </a:defRPr>
            </a:lvl2pPr>
            <a:lvl3pPr marL="1080000" indent="-270000">
              <a:buClr>
                <a:srgbClr val="2FAE7A"/>
              </a:buClr>
              <a:buFont typeface="Source Sans Pro Black" panose="020B0803030403020204" pitchFamily="34" charset="0"/>
              <a:buChar cha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22" name="Inhalt"/>
          <p:cNvSpPr>
            <a:spLocks noGrp="1"/>
          </p:cNvSpPr>
          <p:nvPr>
            <p:ph sz="half" idx="28" hasCustomPrompt="1"/>
          </p:nvPr>
        </p:nvSpPr>
        <p:spPr bwMode="gray">
          <a:xfrm>
            <a:off x="4300927" y="4482683"/>
            <a:ext cx="3607198" cy="1335600"/>
          </a:xfrm>
          <a:solidFill>
            <a:schemeClr val="bg1">
              <a:lumMod val="95000"/>
            </a:schemeClr>
          </a:solidFill>
        </p:spPr>
        <p:txBody>
          <a:bodyPr vert="horz" lIns="180000" tIns="180000" rIns="180000" bIns="180000" rtlCol="0">
            <a:noAutofit/>
          </a:bodyPr>
          <a:lstStyle>
            <a:lvl1pPr marL="270000" indent="-270000">
              <a:buClr>
                <a:srgbClr val="2FAE7A"/>
              </a:buClr>
              <a:buFont typeface="Source Sans Pro Black" panose="020B0803030403020204" pitchFamily="34" charset="0"/>
              <a:buChar char="‒"/>
              <a:defRPr lang="de-DE" sz="1400" noProof="0" dirty="0">
                <a:solidFill>
                  <a:schemeClr val="tx2">
                    <a:lumMod val="75000"/>
                  </a:schemeClr>
                </a:solidFill>
              </a:defRPr>
            </a:lvl1pPr>
            <a:lvl2pPr marL="720000" indent="-270000">
              <a:buClr>
                <a:srgbClr val="2FAE7A"/>
              </a:buClr>
              <a:buFont typeface="Source Sans Pro Black" panose="020B0803030403020204" pitchFamily="34" charset="0"/>
              <a:buChar char="‒"/>
              <a:defRPr lang="de-DE" sz="1200" noProof="0" dirty="0">
                <a:solidFill>
                  <a:schemeClr val="tx2">
                    <a:lumMod val="75000"/>
                  </a:schemeClr>
                </a:solidFill>
              </a:defRPr>
            </a:lvl2pPr>
            <a:lvl3pPr marL="1080000" indent="-270000">
              <a:buClr>
                <a:srgbClr val="2FAE7A"/>
              </a:buClr>
              <a:buFont typeface="Source Sans Pro Black" panose="020B0803030403020204" pitchFamily="34" charset="0"/>
              <a:buChar cha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14" name="Textplatzhalter 3">
            <a:extLst>
              <a:ext uri="{FF2B5EF4-FFF2-40B4-BE49-F238E27FC236}">
                <a16:creationId xmlns:a16="http://schemas.microsoft.com/office/drawing/2014/main" id="{E5099914-7874-4637-AE82-C43268E2E775}"/>
              </a:ext>
            </a:extLst>
          </p:cNvPr>
          <p:cNvSpPr>
            <a:spLocks noGrp="1"/>
          </p:cNvSpPr>
          <p:nvPr>
            <p:ph type="body" sz="quarter" idx="29" hasCustomPrompt="1"/>
          </p:nvPr>
        </p:nvSpPr>
        <p:spPr>
          <a:xfrm>
            <a:off x="539750" y="971685"/>
            <a:ext cx="7433371" cy="528638"/>
          </a:xfrm>
        </p:spPr>
        <p:txBody>
          <a:bodyPr/>
          <a:lstStyle>
            <a:lvl1pPr marL="0" indent="0">
              <a:buNone/>
              <a:defRPr sz="2000">
                <a:solidFill>
                  <a:srgbClr val="2FAE7A"/>
                </a:solidFill>
              </a:defRPr>
            </a:lvl1pPr>
          </a:lstStyle>
          <a:p>
            <a:pPr lvl="0"/>
            <a:r>
              <a:rPr lang="de-DE"/>
              <a:t>Das ist eine optionale </a:t>
            </a:r>
            <a:r>
              <a:rPr lang="de-DE" err="1"/>
              <a:t>Subline</a:t>
            </a:r>
            <a:r>
              <a:rPr lang="de-DE"/>
              <a:t>. Bei Nichtnutzung einfach löschen. </a:t>
            </a:r>
          </a:p>
        </p:txBody>
      </p:sp>
      <p:sp>
        <p:nvSpPr>
          <p:cNvPr id="24" name="Bildplatzhalter 2"/>
          <p:cNvSpPr>
            <a:spLocks noGrp="1"/>
          </p:cNvSpPr>
          <p:nvPr>
            <p:ph type="pic" sz="quarter" idx="30"/>
          </p:nvPr>
        </p:nvSpPr>
        <p:spPr bwMode="gray">
          <a:xfrm>
            <a:off x="7252132" y="-8709"/>
            <a:ext cx="4993091" cy="6917926"/>
          </a:xfrm>
          <a:custGeom>
            <a:avLst/>
            <a:gdLst>
              <a:gd name="connsiteX0" fmla="*/ 0 w 4942342"/>
              <a:gd name="connsiteY0" fmla="*/ 1567996 h 1567996"/>
              <a:gd name="connsiteX1" fmla="*/ 391999 w 4942342"/>
              <a:gd name="connsiteY1" fmla="*/ 0 h 1567996"/>
              <a:gd name="connsiteX2" fmla="*/ 4550343 w 4942342"/>
              <a:gd name="connsiteY2" fmla="*/ 0 h 1567996"/>
              <a:gd name="connsiteX3" fmla="*/ 4942342 w 4942342"/>
              <a:gd name="connsiteY3" fmla="*/ 1567996 h 1567996"/>
              <a:gd name="connsiteX4" fmla="*/ 0 w 4942342"/>
              <a:gd name="connsiteY4" fmla="*/ 1567996 h 1567996"/>
              <a:gd name="connsiteX0" fmla="*/ 0 w 4942342"/>
              <a:gd name="connsiteY0" fmla="*/ 1578882 h 1578882"/>
              <a:gd name="connsiteX1" fmla="*/ 391999 w 4942342"/>
              <a:gd name="connsiteY1" fmla="*/ 10886 h 1578882"/>
              <a:gd name="connsiteX2" fmla="*/ 3233171 w 4942342"/>
              <a:gd name="connsiteY2" fmla="*/ 0 h 1578882"/>
              <a:gd name="connsiteX3" fmla="*/ 4942342 w 4942342"/>
              <a:gd name="connsiteY3" fmla="*/ 1578882 h 1578882"/>
              <a:gd name="connsiteX4" fmla="*/ 0 w 4942342"/>
              <a:gd name="connsiteY4" fmla="*/ 1578882 h 1578882"/>
              <a:gd name="connsiteX0" fmla="*/ 0 w 4082371"/>
              <a:gd name="connsiteY0" fmla="*/ 1578882 h 1600654"/>
              <a:gd name="connsiteX1" fmla="*/ 391999 w 4082371"/>
              <a:gd name="connsiteY1" fmla="*/ 10886 h 1600654"/>
              <a:gd name="connsiteX2" fmla="*/ 3233171 w 4082371"/>
              <a:gd name="connsiteY2" fmla="*/ 0 h 1600654"/>
              <a:gd name="connsiteX3" fmla="*/ 4082371 w 4082371"/>
              <a:gd name="connsiteY3" fmla="*/ 1600654 h 1600654"/>
              <a:gd name="connsiteX4" fmla="*/ 0 w 4082371"/>
              <a:gd name="connsiteY4" fmla="*/ 1578882 h 1600654"/>
              <a:gd name="connsiteX0" fmla="*/ 0 w 4082371"/>
              <a:gd name="connsiteY0" fmla="*/ 6869339 h 6891111"/>
              <a:gd name="connsiteX1" fmla="*/ 113 w 4082371"/>
              <a:gd name="connsiteY1" fmla="*/ 0 h 6891111"/>
              <a:gd name="connsiteX2" fmla="*/ 3233171 w 4082371"/>
              <a:gd name="connsiteY2" fmla="*/ 5290457 h 6891111"/>
              <a:gd name="connsiteX3" fmla="*/ 4082371 w 4082371"/>
              <a:gd name="connsiteY3" fmla="*/ 6891111 h 6891111"/>
              <a:gd name="connsiteX4" fmla="*/ 0 w 4082371"/>
              <a:gd name="connsiteY4" fmla="*/ 6869339 h 6891111"/>
              <a:gd name="connsiteX0" fmla="*/ 0 w 7413285"/>
              <a:gd name="connsiteY0" fmla="*/ 6869339 h 6891111"/>
              <a:gd name="connsiteX1" fmla="*/ 113 w 7413285"/>
              <a:gd name="connsiteY1" fmla="*/ 0 h 6891111"/>
              <a:gd name="connsiteX2" fmla="*/ 7413285 w 7413285"/>
              <a:gd name="connsiteY2" fmla="*/ 0 h 6891111"/>
              <a:gd name="connsiteX3" fmla="*/ 4082371 w 7413285"/>
              <a:gd name="connsiteY3" fmla="*/ 6891111 h 6891111"/>
              <a:gd name="connsiteX4" fmla="*/ 0 w 7413285"/>
              <a:gd name="connsiteY4" fmla="*/ 6869339 h 6891111"/>
              <a:gd name="connsiteX0" fmla="*/ 0 w 8229600"/>
              <a:gd name="connsiteY0" fmla="*/ 6869339 h 6891111"/>
              <a:gd name="connsiteX1" fmla="*/ 113 w 8229600"/>
              <a:gd name="connsiteY1" fmla="*/ 0 h 6891111"/>
              <a:gd name="connsiteX2" fmla="*/ 8229600 w 8229600"/>
              <a:gd name="connsiteY2" fmla="*/ 45719 h 6891111"/>
              <a:gd name="connsiteX3" fmla="*/ 4082371 w 8229600"/>
              <a:gd name="connsiteY3" fmla="*/ 6891111 h 6891111"/>
              <a:gd name="connsiteX4" fmla="*/ 0 w 8229600"/>
              <a:gd name="connsiteY4" fmla="*/ 6869339 h 6891111"/>
              <a:gd name="connsiteX0" fmla="*/ 0 w 8229600"/>
              <a:gd name="connsiteY0" fmla="*/ 6869339 h 6891112"/>
              <a:gd name="connsiteX1" fmla="*/ 113 w 8229600"/>
              <a:gd name="connsiteY1" fmla="*/ 0 h 6891112"/>
              <a:gd name="connsiteX2" fmla="*/ 8229600 w 8229600"/>
              <a:gd name="connsiteY2" fmla="*/ 45719 h 6891112"/>
              <a:gd name="connsiteX3" fmla="*/ 5159828 w 8229600"/>
              <a:gd name="connsiteY3" fmla="*/ 6891112 h 6891112"/>
              <a:gd name="connsiteX4" fmla="*/ 0 w 8229600"/>
              <a:gd name="connsiteY4" fmla="*/ 6869339 h 6891112"/>
              <a:gd name="connsiteX0" fmla="*/ 0 w 12224657"/>
              <a:gd name="connsiteY0" fmla="*/ 6869339 h 6923769"/>
              <a:gd name="connsiteX1" fmla="*/ 113 w 12224657"/>
              <a:gd name="connsiteY1" fmla="*/ 0 h 6923769"/>
              <a:gd name="connsiteX2" fmla="*/ 8229600 w 12224657"/>
              <a:gd name="connsiteY2" fmla="*/ 45719 h 6923769"/>
              <a:gd name="connsiteX3" fmla="*/ 12224657 w 12224657"/>
              <a:gd name="connsiteY3" fmla="*/ 6923769 h 6923769"/>
              <a:gd name="connsiteX4" fmla="*/ 0 w 12224657"/>
              <a:gd name="connsiteY4" fmla="*/ 6869339 h 6923769"/>
              <a:gd name="connsiteX0" fmla="*/ 0 w 12224657"/>
              <a:gd name="connsiteY0" fmla="*/ 6869339 h 6923769"/>
              <a:gd name="connsiteX1" fmla="*/ 113 w 12224657"/>
              <a:gd name="connsiteY1" fmla="*/ 0 h 6923769"/>
              <a:gd name="connsiteX2" fmla="*/ 8229600 w 12224657"/>
              <a:gd name="connsiteY2" fmla="*/ 45719 h 6923769"/>
              <a:gd name="connsiteX3" fmla="*/ 12224657 w 12224657"/>
              <a:gd name="connsiteY3" fmla="*/ 6923769 h 6923769"/>
              <a:gd name="connsiteX4" fmla="*/ 0 w 12224657"/>
              <a:gd name="connsiteY4" fmla="*/ 6869339 h 6923769"/>
              <a:gd name="connsiteX0" fmla="*/ 0 w 12224657"/>
              <a:gd name="connsiteY0" fmla="*/ 6858453 h 6912883"/>
              <a:gd name="connsiteX1" fmla="*/ 5388541 w 12224657"/>
              <a:gd name="connsiteY1" fmla="*/ 0 h 6912883"/>
              <a:gd name="connsiteX2" fmla="*/ 8229600 w 12224657"/>
              <a:gd name="connsiteY2" fmla="*/ 34833 h 6912883"/>
              <a:gd name="connsiteX3" fmla="*/ 12224657 w 12224657"/>
              <a:gd name="connsiteY3" fmla="*/ 6912883 h 6912883"/>
              <a:gd name="connsiteX4" fmla="*/ 0 w 12224657"/>
              <a:gd name="connsiteY4" fmla="*/ 6858453 h 6912883"/>
              <a:gd name="connsiteX0" fmla="*/ 0 w 12224657"/>
              <a:gd name="connsiteY0" fmla="*/ 6858453 h 6912883"/>
              <a:gd name="connsiteX1" fmla="*/ 5388541 w 12224657"/>
              <a:gd name="connsiteY1" fmla="*/ 0 h 6912883"/>
              <a:gd name="connsiteX2" fmla="*/ 8229600 w 12224657"/>
              <a:gd name="connsiteY2" fmla="*/ 34833 h 6912883"/>
              <a:gd name="connsiteX3" fmla="*/ 12224657 w 12224657"/>
              <a:gd name="connsiteY3" fmla="*/ 6912883 h 6912883"/>
              <a:gd name="connsiteX4" fmla="*/ 0 w 12224657"/>
              <a:gd name="connsiteY4" fmla="*/ 6858453 h 6912883"/>
              <a:gd name="connsiteX0" fmla="*/ 0 w 9372600"/>
              <a:gd name="connsiteY0" fmla="*/ 6945538 h 6945538"/>
              <a:gd name="connsiteX1" fmla="*/ 2536484 w 9372600"/>
              <a:gd name="connsiteY1" fmla="*/ 0 h 6945538"/>
              <a:gd name="connsiteX2" fmla="*/ 5377543 w 9372600"/>
              <a:gd name="connsiteY2" fmla="*/ 34833 h 6945538"/>
              <a:gd name="connsiteX3" fmla="*/ 9372600 w 9372600"/>
              <a:gd name="connsiteY3" fmla="*/ 6912883 h 6945538"/>
              <a:gd name="connsiteX4" fmla="*/ 0 w 9372600"/>
              <a:gd name="connsiteY4" fmla="*/ 6945538 h 6945538"/>
              <a:gd name="connsiteX0" fmla="*/ 0 w 9372600"/>
              <a:gd name="connsiteY0" fmla="*/ 6965133 h 6965133"/>
              <a:gd name="connsiteX1" fmla="*/ 2536484 w 9372600"/>
              <a:gd name="connsiteY1" fmla="*/ 19595 h 6965133"/>
              <a:gd name="connsiteX2" fmla="*/ 8730343 w 9372600"/>
              <a:gd name="connsiteY2" fmla="*/ 0 h 6965133"/>
              <a:gd name="connsiteX3" fmla="*/ 9372600 w 9372600"/>
              <a:gd name="connsiteY3" fmla="*/ 6932478 h 6965133"/>
              <a:gd name="connsiteX4" fmla="*/ 0 w 9372600"/>
              <a:gd name="connsiteY4" fmla="*/ 6965133 h 6965133"/>
              <a:gd name="connsiteX0" fmla="*/ 0 w 8730343"/>
              <a:gd name="connsiteY0" fmla="*/ 6965133 h 7128421"/>
              <a:gd name="connsiteX1" fmla="*/ 2536484 w 8730343"/>
              <a:gd name="connsiteY1" fmla="*/ 19595 h 7128421"/>
              <a:gd name="connsiteX2" fmla="*/ 8730343 w 8730343"/>
              <a:gd name="connsiteY2" fmla="*/ 0 h 7128421"/>
              <a:gd name="connsiteX3" fmla="*/ 6727371 w 8730343"/>
              <a:gd name="connsiteY3" fmla="*/ 7128421 h 7128421"/>
              <a:gd name="connsiteX4" fmla="*/ 0 w 8730343"/>
              <a:gd name="connsiteY4" fmla="*/ 6965133 h 7128421"/>
              <a:gd name="connsiteX0" fmla="*/ 0 w 8762999"/>
              <a:gd name="connsiteY0" fmla="*/ 6965133 h 6965133"/>
              <a:gd name="connsiteX1" fmla="*/ 2536484 w 8762999"/>
              <a:gd name="connsiteY1" fmla="*/ 19595 h 6965133"/>
              <a:gd name="connsiteX2" fmla="*/ 8730343 w 8762999"/>
              <a:gd name="connsiteY2" fmla="*/ 0 h 6965133"/>
              <a:gd name="connsiteX3" fmla="*/ 8762999 w 8762999"/>
              <a:gd name="connsiteY3" fmla="*/ 6910707 h 6965133"/>
              <a:gd name="connsiteX4" fmla="*/ 0 w 8762999"/>
              <a:gd name="connsiteY4" fmla="*/ 6965133 h 6965133"/>
              <a:gd name="connsiteX0" fmla="*/ 0 w 8730341"/>
              <a:gd name="connsiteY0" fmla="*/ 6899819 h 6910707"/>
              <a:gd name="connsiteX1" fmla="*/ 2503826 w 8730341"/>
              <a:gd name="connsiteY1" fmla="*/ 19595 h 6910707"/>
              <a:gd name="connsiteX2" fmla="*/ 8697685 w 8730341"/>
              <a:gd name="connsiteY2" fmla="*/ 0 h 6910707"/>
              <a:gd name="connsiteX3" fmla="*/ 8730341 w 8730341"/>
              <a:gd name="connsiteY3" fmla="*/ 6910707 h 6910707"/>
              <a:gd name="connsiteX4" fmla="*/ 0 w 8730341"/>
              <a:gd name="connsiteY4" fmla="*/ 6899819 h 6910707"/>
              <a:gd name="connsiteX0" fmla="*/ 0 w 8741226"/>
              <a:gd name="connsiteY0" fmla="*/ 6899819 h 6910707"/>
              <a:gd name="connsiteX1" fmla="*/ 2503826 w 8741226"/>
              <a:gd name="connsiteY1" fmla="*/ 19595 h 6910707"/>
              <a:gd name="connsiteX2" fmla="*/ 8697685 w 8741226"/>
              <a:gd name="connsiteY2" fmla="*/ 0 h 6910707"/>
              <a:gd name="connsiteX3" fmla="*/ 8741226 w 8741226"/>
              <a:gd name="connsiteY3" fmla="*/ 6910707 h 6910707"/>
              <a:gd name="connsiteX4" fmla="*/ 0 w 8741226"/>
              <a:gd name="connsiteY4" fmla="*/ 6899819 h 6910707"/>
              <a:gd name="connsiteX0" fmla="*/ 0 w 8741226"/>
              <a:gd name="connsiteY0" fmla="*/ 6899819 h 6910707"/>
              <a:gd name="connsiteX1" fmla="*/ 2503826 w 8741226"/>
              <a:gd name="connsiteY1" fmla="*/ 19595 h 6910707"/>
              <a:gd name="connsiteX2" fmla="*/ 8708570 w 8741226"/>
              <a:gd name="connsiteY2" fmla="*/ 0 h 6910707"/>
              <a:gd name="connsiteX3" fmla="*/ 8741226 w 8741226"/>
              <a:gd name="connsiteY3" fmla="*/ 6910707 h 6910707"/>
              <a:gd name="connsiteX4" fmla="*/ 0 w 8741226"/>
              <a:gd name="connsiteY4" fmla="*/ 6899819 h 6910707"/>
              <a:gd name="connsiteX0" fmla="*/ 0 w 8741226"/>
              <a:gd name="connsiteY0" fmla="*/ 6901995 h 6912883"/>
              <a:gd name="connsiteX1" fmla="*/ 2503826 w 8741226"/>
              <a:gd name="connsiteY1" fmla="*/ 0 h 6912883"/>
              <a:gd name="connsiteX2" fmla="*/ 8708570 w 8741226"/>
              <a:gd name="connsiteY2" fmla="*/ 2176 h 6912883"/>
              <a:gd name="connsiteX3" fmla="*/ 8741226 w 8741226"/>
              <a:gd name="connsiteY3" fmla="*/ 6912883 h 6912883"/>
              <a:gd name="connsiteX4" fmla="*/ 0 w 8741226"/>
              <a:gd name="connsiteY4" fmla="*/ 6901995 h 6912883"/>
              <a:gd name="connsiteX0" fmla="*/ 1506859 w 6237400"/>
              <a:gd name="connsiteY0" fmla="*/ 6938208 h 6938208"/>
              <a:gd name="connsiteX1" fmla="*/ 0 w 6237400"/>
              <a:gd name="connsiteY1" fmla="*/ 0 h 6938208"/>
              <a:gd name="connsiteX2" fmla="*/ 6204744 w 6237400"/>
              <a:gd name="connsiteY2" fmla="*/ 2176 h 6938208"/>
              <a:gd name="connsiteX3" fmla="*/ 6237400 w 6237400"/>
              <a:gd name="connsiteY3" fmla="*/ 6912883 h 6938208"/>
              <a:gd name="connsiteX4" fmla="*/ 1506859 w 6237400"/>
              <a:gd name="connsiteY4" fmla="*/ 6938208 h 6938208"/>
              <a:gd name="connsiteX0" fmla="*/ 0 w 4730541"/>
              <a:gd name="connsiteY0" fmla="*/ 6947261 h 6947261"/>
              <a:gd name="connsiteX1" fmla="*/ 2042099 w 4730541"/>
              <a:gd name="connsiteY1" fmla="*/ 0 h 6947261"/>
              <a:gd name="connsiteX2" fmla="*/ 4697885 w 4730541"/>
              <a:gd name="connsiteY2" fmla="*/ 11229 h 6947261"/>
              <a:gd name="connsiteX3" fmla="*/ 4730541 w 4730541"/>
              <a:gd name="connsiteY3" fmla="*/ 6921936 h 6947261"/>
              <a:gd name="connsiteX4" fmla="*/ 0 w 4730541"/>
              <a:gd name="connsiteY4" fmla="*/ 6947261 h 6947261"/>
              <a:gd name="connsiteX0" fmla="*/ 0 w 3354414"/>
              <a:gd name="connsiteY0" fmla="*/ 6938208 h 6938208"/>
              <a:gd name="connsiteX1" fmla="*/ 665972 w 3354414"/>
              <a:gd name="connsiteY1" fmla="*/ 0 h 6938208"/>
              <a:gd name="connsiteX2" fmla="*/ 3321758 w 3354414"/>
              <a:gd name="connsiteY2" fmla="*/ 11229 h 6938208"/>
              <a:gd name="connsiteX3" fmla="*/ 3354414 w 3354414"/>
              <a:gd name="connsiteY3" fmla="*/ 6921936 h 6938208"/>
              <a:gd name="connsiteX4" fmla="*/ 0 w 3354414"/>
              <a:gd name="connsiteY4" fmla="*/ 6938208 h 6938208"/>
              <a:gd name="connsiteX0" fmla="*/ 0 w 3354414"/>
              <a:gd name="connsiteY0" fmla="*/ 6929155 h 6929155"/>
              <a:gd name="connsiteX1" fmla="*/ 1127699 w 3354414"/>
              <a:gd name="connsiteY1" fmla="*/ 0 h 6929155"/>
              <a:gd name="connsiteX2" fmla="*/ 3321758 w 3354414"/>
              <a:gd name="connsiteY2" fmla="*/ 2176 h 6929155"/>
              <a:gd name="connsiteX3" fmla="*/ 3354414 w 3354414"/>
              <a:gd name="connsiteY3" fmla="*/ 6912883 h 6929155"/>
              <a:gd name="connsiteX4" fmla="*/ 0 w 3354414"/>
              <a:gd name="connsiteY4" fmla="*/ 6929155 h 6929155"/>
              <a:gd name="connsiteX0" fmla="*/ 393283 w 3747697"/>
              <a:gd name="connsiteY0" fmla="*/ 6938208 h 6938208"/>
              <a:gd name="connsiteX1" fmla="*/ 0 w 3747697"/>
              <a:gd name="connsiteY1" fmla="*/ 0 h 6938208"/>
              <a:gd name="connsiteX2" fmla="*/ 3715041 w 3747697"/>
              <a:gd name="connsiteY2" fmla="*/ 11229 h 6938208"/>
              <a:gd name="connsiteX3" fmla="*/ 3747697 w 3747697"/>
              <a:gd name="connsiteY3" fmla="*/ 6921936 h 6938208"/>
              <a:gd name="connsiteX4" fmla="*/ 393283 w 3747697"/>
              <a:gd name="connsiteY4" fmla="*/ 6938208 h 6938208"/>
              <a:gd name="connsiteX0" fmla="*/ 0 w 4929717"/>
              <a:gd name="connsiteY0" fmla="*/ 6929155 h 6929155"/>
              <a:gd name="connsiteX1" fmla="*/ 1182020 w 4929717"/>
              <a:gd name="connsiteY1" fmla="*/ 0 h 6929155"/>
              <a:gd name="connsiteX2" fmla="*/ 4897061 w 4929717"/>
              <a:gd name="connsiteY2" fmla="*/ 11229 h 6929155"/>
              <a:gd name="connsiteX3" fmla="*/ 4929717 w 4929717"/>
              <a:gd name="connsiteY3" fmla="*/ 6921936 h 6929155"/>
              <a:gd name="connsiteX4" fmla="*/ 0 w 4929717"/>
              <a:gd name="connsiteY4" fmla="*/ 6929155 h 6929155"/>
              <a:gd name="connsiteX0" fmla="*/ 0 w 4929717"/>
              <a:gd name="connsiteY0" fmla="*/ 6917926 h 6917926"/>
              <a:gd name="connsiteX1" fmla="*/ 2458559 w 4929717"/>
              <a:gd name="connsiteY1" fmla="*/ 6878 h 6917926"/>
              <a:gd name="connsiteX2" fmla="*/ 4897061 w 4929717"/>
              <a:gd name="connsiteY2" fmla="*/ 0 h 6917926"/>
              <a:gd name="connsiteX3" fmla="*/ 4929717 w 4929717"/>
              <a:gd name="connsiteY3" fmla="*/ 6910707 h 6917926"/>
              <a:gd name="connsiteX4" fmla="*/ 0 w 4929717"/>
              <a:gd name="connsiteY4" fmla="*/ 6917926 h 6917926"/>
              <a:gd name="connsiteX0" fmla="*/ 0 w 4993091"/>
              <a:gd name="connsiteY0" fmla="*/ 6917926 h 6917926"/>
              <a:gd name="connsiteX1" fmla="*/ 2521933 w 4993091"/>
              <a:gd name="connsiteY1" fmla="*/ 6878 h 6917926"/>
              <a:gd name="connsiteX2" fmla="*/ 4960435 w 4993091"/>
              <a:gd name="connsiteY2" fmla="*/ 0 h 6917926"/>
              <a:gd name="connsiteX3" fmla="*/ 4993091 w 4993091"/>
              <a:gd name="connsiteY3" fmla="*/ 6910707 h 6917926"/>
              <a:gd name="connsiteX4" fmla="*/ 0 w 4993091"/>
              <a:gd name="connsiteY4" fmla="*/ 6917926 h 6917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091" h="6917926">
                <a:moveTo>
                  <a:pt x="0" y="6917926"/>
                </a:moveTo>
                <a:lnTo>
                  <a:pt x="2521933" y="6878"/>
                </a:lnTo>
                <a:lnTo>
                  <a:pt x="4960435" y="0"/>
                </a:lnTo>
                <a:lnTo>
                  <a:pt x="4993091" y="6910707"/>
                </a:lnTo>
                <a:lnTo>
                  <a:pt x="0" y="6917926"/>
                </a:lnTo>
                <a:close/>
              </a:path>
            </a:pathLst>
          </a:custGeom>
          <a:solidFill>
            <a:schemeClr val="bg1">
              <a:lumMod val="85000"/>
            </a:schemeClr>
          </a:solidFill>
        </p:spPr>
        <p:txBody>
          <a:bodyPr/>
          <a:lstStyle>
            <a:lvl1pPr marL="0" indent="0">
              <a:buNone/>
              <a:defRPr>
                <a:solidFill>
                  <a:schemeClr val="bg1">
                    <a:lumMod val="85000"/>
                  </a:schemeClr>
                </a:solidFill>
              </a:defRPr>
            </a:lvl1pPr>
          </a:lstStyle>
          <a:p>
            <a:endParaRPr lang="de-DE"/>
          </a:p>
        </p:txBody>
      </p:sp>
    </p:spTree>
    <p:extLst>
      <p:ext uri="{BB962C8B-B14F-4D97-AF65-F5344CB8AC3E}">
        <p14:creationId xmlns:p14="http://schemas.microsoft.com/office/powerpoint/2010/main" val="8341396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x Content und Bild">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EFEAA933-DAAA-45A7-9A73-E4B7C3A8BB95}"/>
              </a:ext>
            </a:extLst>
          </p:cNvPr>
          <p:cNvSpPr>
            <a:spLocks noGrp="1"/>
          </p:cNvSpPr>
          <p:nvPr>
            <p:ph type="pic" sz="quarter" idx="16"/>
          </p:nvPr>
        </p:nvSpPr>
        <p:spPr>
          <a:xfrm>
            <a:off x="8234013" y="0"/>
            <a:ext cx="3956400" cy="6858000"/>
          </a:xfrm>
          <a:solidFill>
            <a:schemeClr val="bg1">
              <a:lumMod val="85000"/>
            </a:schemeClr>
          </a:solidFill>
        </p:spPr>
        <p:txBody>
          <a:bodyPr vert="horz" wrap="square" lIns="144000" tIns="144000" rIns="144000" bIns="144000" rtlCol="0">
            <a:noAutofit/>
          </a:bodyPr>
          <a:lstStyle>
            <a:lvl1pPr>
              <a:defRPr lang="en-US">
                <a:solidFill>
                  <a:schemeClr val="tx2">
                    <a:lumMod val="75000"/>
                  </a:schemeClr>
                </a:solidFill>
              </a:defRPr>
            </a:lvl1pPr>
          </a:lstStyle>
          <a:p>
            <a:pPr marL="0" lvl="0" indent="0">
              <a:buNone/>
            </a:pPr>
            <a:r>
              <a:rPr lang="de-DE"/>
              <a:t>Bild durch Klicken auf Symbol hinzufügen</a:t>
            </a:r>
            <a:endParaRPr lang="en-US"/>
          </a:p>
        </p:txBody>
      </p:sp>
      <p:sp>
        <p:nvSpPr>
          <p:cNvPr id="2" name="Titel"/>
          <p:cNvSpPr>
            <a:spLocks noGrp="1"/>
          </p:cNvSpPr>
          <p:nvPr>
            <p:ph type="title" hasCustomPrompt="1"/>
          </p:nvPr>
        </p:nvSpPr>
        <p:spPr bwMode="gray">
          <a:xfrm>
            <a:off x="540000" y="432000"/>
            <a:ext cx="7358397" cy="1080000"/>
          </a:xfrm>
        </p:spPr>
        <p:txBody>
          <a:bodyPr/>
          <a:lstStyle>
            <a:lvl1pPr marL="0" indent="0">
              <a:buClr>
                <a:srgbClr val="002456"/>
              </a:buClr>
              <a:buSzPct val="110000"/>
              <a:buFont typeface="Source Sans Pro" panose="020B05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noProof="0"/>
              <a:t>Titelmasterformat bearbeiten</a:t>
            </a:r>
          </a:p>
        </p:txBody>
      </p:sp>
      <p:sp>
        <p:nvSpPr>
          <p:cNvPr id="3" name="Inhalt"/>
          <p:cNvSpPr>
            <a:spLocks noGrp="1"/>
          </p:cNvSpPr>
          <p:nvPr>
            <p:ph sz="half" idx="1" hasCustomPrompt="1"/>
          </p:nvPr>
        </p:nvSpPr>
        <p:spPr bwMode="gray">
          <a:xfrm>
            <a:off x="540000" y="1512000"/>
            <a:ext cx="3607198" cy="1335600"/>
          </a:xfrm>
          <a:solidFill>
            <a:schemeClr val="bg1">
              <a:lumMod val="95000"/>
            </a:schemeClr>
          </a:solidFill>
        </p:spPr>
        <p:txBody>
          <a:bodyPr vert="horz" lIns="180000" tIns="180000" rIns="180000" bIns="180000" rtlCol="0">
            <a:noAutofit/>
          </a:bodyPr>
          <a:lstStyle>
            <a:lvl1pPr>
              <a:defRPr lang="de-DE" sz="1400" noProof="0" dirty="0">
                <a:solidFill>
                  <a:schemeClr val="tx2">
                    <a:lumMod val="75000"/>
                  </a:schemeClr>
                </a:solidFill>
              </a:defRPr>
            </a:lvl1pPr>
            <a:lvl2pPr>
              <a:defRPr lang="de-DE" sz="1200" noProof="0" dirty="0">
                <a:solidFill>
                  <a:schemeClr val="tx2">
                    <a:lumMod val="75000"/>
                  </a:schemeClr>
                </a:solidFill>
              </a:defRPr>
            </a:lvl2pPr>
            <a:lvl3pP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20" name="Inhaltsplatzhalter 19">
            <a:extLst>
              <a:ext uri="{FF2B5EF4-FFF2-40B4-BE49-F238E27FC236}">
                <a16:creationId xmlns:a16="http://schemas.microsoft.com/office/drawing/2014/main" id="{55E41B23-5F82-48E6-BCC2-2142B4075E73}"/>
              </a:ext>
            </a:extLst>
          </p:cNvPr>
          <p:cNvSpPr>
            <a:spLocks noGrp="1"/>
          </p:cNvSpPr>
          <p:nvPr>
            <p:ph sz="half" idx="17" hasCustomPrompt="1"/>
          </p:nvPr>
        </p:nvSpPr>
        <p:spPr bwMode="gray">
          <a:xfrm>
            <a:off x="4300927" y="1512000"/>
            <a:ext cx="3607198" cy="1335600"/>
          </a:xfrm>
          <a:prstGeom prst="rect">
            <a:avLst/>
          </a:prstGeom>
          <a:solidFill>
            <a:schemeClr val="bg1">
              <a:lumMod val="95000"/>
            </a:schemeClr>
          </a:solidFill>
        </p:spPr>
        <p:txBody>
          <a:bodyPr vert="horz" wrap="square" lIns="180000" tIns="180000" rIns="180000" bIns="180000" rtlCol="0">
            <a:noAutofit/>
          </a:bodyPr>
          <a:lstStyle>
            <a:lvl1pPr>
              <a:defRPr lang="de-DE" sz="1400" noProof="0" dirty="0">
                <a:solidFill>
                  <a:schemeClr val="tx2">
                    <a:lumMod val="75000"/>
                  </a:schemeClr>
                </a:solidFill>
              </a:defRPr>
            </a:lvl1pPr>
            <a:lvl2pPr>
              <a:defRPr lang="de-DE" sz="1200" noProof="0" dirty="0">
                <a:solidFill>
                  <a:schemeClr val="tx2">
                    <a:lumMod val="75000"/>
                  </a:schemeClr>
                </a:solidFill>
              </a:defRPr>
            </a:lvl2pPr>
            <a:lvl3pP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13" name="Inhalt">
            <a:extLst>
              <a:ext uri="{FF2B5EF4-FFF2-40B4-BE49-F238E27FC236}">
                <a16:creationId xmlns:a16="http://schemas.microsoft.com/office/drawing/2014/main" id="{54E3DC3C-C72C-49DD-8B68-5CCD1AD8D574}"/>
              </a:ext>
            </a:extLst>
          </p:cNvPr>
          <p:cNvSpPr>
            <a:spLocks noGrp="1"/>
          </p:cNvSpPr>
          <p:nvPr>
            <p:ph sz="half" idx="18" hasCustomPrompt="1"/>
          </p:nvPr>
        </p:nvSpPr>
        <p:spPr bwMode="gray">
          <a:xfrm>
            <a:off x="549727" y="2997617"/>
            <a:ext cx="3607198" cy="1335600"/>
          </a:xfrm>
          <a:solidFill>
            <a:schemeClr val="bg1">
              <a:lumMod val="95000"/>
            </a:schemeClr>
          </a:solidFill>
        </p:spPr>
        <p:txBody>
          <a:bodyPr vert="horz" lIns="180000" tIns="180000" rIns="180000" bIns="180000" rtlCol="0">
            <a:noAutofit/>
          </a:bodyPr>
          <a:lstStyle>
            <a:lvl1pPr>
              <a:defRPr lang="de-DE" sz="1400" noProof="0" dirty="0">
                <a:solidFill>
                  <a:schemeClr val="tx2">
                    <a:lumMod val="75000"/>
                  </a:schemeClr>
                </a:solidFill>
              </a:defRPr>
            </a:lvl1pPr>
            <a:lvl2pPr>
              <a:defRPr lang="de-DE" sz="1200" noProof="0" dirty="0">
                <a:solidFill>
                  <a:schemeClr val="tx2">
                    <a:lumMod val="75000"/>
                  </a:schemeClr>
                </a:solidFill>
              </a:defRPr>
            </a:lvl2pPr>
            <a:lvl3pP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14" name="Inhalt">
            <a:extLst>
              <a:ext uri="{FF2B5EF4-FFF2-40B4-BE49-F238E27FC236}">
                <a16:creationId xmlns:a16="http://schemas.microsoft.com/office/drawing/2014/main" id="{E34E2CFA-3C5D-4636-B3C5-27184E100402}"/>
              </a:ext>
            </a:extLst>
          </p:cNvPr>
          <p:cNvSpPr>
            <a:spLocks noGrp="1"/>
          </p:cNvSpPr>
          <p:nvPr>
            <p:ph sz="half" idx="19" hasCustomPrompt="1"/>
          </p:nvPr>
        </p:nvSpPr>
        <p:spPr bwMode="gray">
          <a:xfrm>
            <a:off x="4300927" y="2997617"/>
            <a:ext cx="3607198" cy="1335600"/>
          </a:xfrm>
          <a:solidFill>
            <a:schemeClr val="bg1">
              <a:lumMod val="95000"/>
            </a:schemeClr>
          </a:solidFill>
        </p:spPr>
        <p:txBody>
          <a:bodyPr vert="horz" lIns="180000" tIns="180000" rIns="180000" bIns="180000" rtlCol="0">
            <a:noAutofit/>
          </a:bodyPr>
          <a:lstStyle>
            <a:lvl1pPr>
              <a:defRPr lang="de-DE" sz="1400" noProof="0" dirty="0">
                <a:solidFill>
                  <a:schemeClr val="tx2">
                    <a:lumMod val="75000"/>
                  </a:schemeClr>
                </a:solidFill>
              </a:defRPr>
            </a:lvl1pPr>
            <a:lvl2pPr>
              <a:defRPr lang="de-DE" sz="1200" noProof="0" dirty="0">
                <a:solidFill>
                  <a:schemeClr val="tx2">
                    <a:lumMod val="75000"/>
                  </a:schemeClr>
                </a:solidFill>
              </a:defRPr>
            </a:lvl2pPr>
            <a:lvl3pP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15" name="Inhalt">
            <a:extLst>
              <a:ext uri="{FF2B5EF4-FFF2-40B4-BE49-F238E27FC236}">
                <a16:creationId xmlns:a16="http://schemas.microsoft.com/office/drawing/2014/main" id="{562C2B93-B211-4CCF-B881-52720D355EA7}"/>
              </a:ext>
            </a:extLst>
          </p:cNvPr>
          <p:cNvSpPr>
            <a:spLocks noGrp="1"/>
          </p:cNvSpPr>
          <p:nvPr>
            <p:ph sz="half" idx="20" hasCustomPrompt="1"/>
          </p:nvPr>
        </p:nvSpPr>
        <p:spPr bwMode="gray">
          <a:xfrm>
            <a:off x="549727" y="4483234"/>
            <a:ext cx="3607198" cy="1335600"/>
          </a:xfrm>
          <a:solidFill>
            <a:schemeClr val="bg1">
              <a:lumMod val="95000"/>
            </a:schemeClr>
          </a:solidFill>
        </p:spPr>
        <p:txBody>
          <a:bodyPr vert="horz" lIns="180000" tIns="180000" rIns="180000" bIns="180000" rtlCol="0">
            <a:noAutofit/>
          </a:bodyPr>
          <a:lstStyle>
            <a:lvl1pPr>
              <a:defRPr lang="de-DE" sz="1400" noProof="0" dirty="0">
                <a:solidFill>
                  <a:schemeClr val="tx2">
                    <a:lumMod val="75000"/>
                  </a:schemeClr>
                </a:solidFill>
              </a:defRPr>
            </a:lvl1pPr>
            <a:lvl2pPr>
              <a:defRPr lang="de-DE" sz="1200" noProof="0" dirty="0">
                <a:solidFill>
                  <a:schemeClr val="tx2">
                    <a:lumMod val="75000"/>
                  </a:schemeClr>
                </a:solidFill>
              </a:defRPr>
            </a:lvl2pPr>
            <a:lvl3pP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16" name="Inhalt">
            <a:extLst>
              <a:ext uri="{FF2B5EF4-FFF2-40B4-BE49-F238E27FC236}">
                <a16:creationId xmlns:a16="http://schemas.microsoft.com/office/drawing/2014/main" id="{4A2288A7-76AF-439C-857D-EEA34B88F441}"/>
              </a:ext>
            </a:extLst>
          </p:cNvPr>
          <p:cNvSpPr>
            <a:spLocks noGrp="1"/>
          </p:cNvSpPr>
          <p:nvPr>
            <p:ph sz="half" idx="21" hasCustomPrompt="1"/>
          </p:nvPr>
        </p:nvSpPr>
        <p:spPr bwMode="gray">
          <a:xfrm>
            <a:off x="4300927" y="4483234"/>
            <a:ext cx="3607198" cy="1335600"/>
          </a:xfrm>
          <a:solidFill>
            <a:schemeClr val="bg1">
              <a:lumMod val="95000"/>
            </a:schemeClr>
          </a:solidFill>
        </p:spPr>
        <p:txBody>
          <a:bodyPr vert="horz" lIns="180000" tIns="180000" rIns="180000" bIns="180000" rtlCol="0">
            <a:noAutofit/>
          </a:bodyPr>
          <a:lstStyle>
            <a:lvl1pPr>
              <a:defRPr lang="de-DE" sz="1400" noProof="0" dirty="0">
                <a:solidFill>
                  <a:schemeClr val="tx2">
                    <a:lumMod val="75000"/>
                  </a:schemeClr>
                </a:solidFill>
              </a:defRPr>
            </a:lvl1pPr>
            <a:lvl2pPr>
              <a:defRPr lang="de-DE" sz="1200" noProof="0" dirty="0">
                <a:solidFill>
                  <a:schemeClr val="tx2">
                    <a:lumMod val="75000"/>
                  </a:schemeClr>
                </a:solidFill>
              </a:defRPr>
            </a:lvl2pPr>
            <a:lvl3pPr>
              <a:defRPr lang="de-DE" sz="1050" noProof="0" dirty="0">
                <a:solidFill>
                  <a:schemeClr val="tx2">
                    <a:lumMod val="75000"/>
                  </a:schemeClr>
                </a:solidFill>
              </a:defRPr>
            </a:lvl3pPr>
            <a:lvl4pPr>
              <a:defRPr lang="de-DE" noProof="0" dirty="0">
                <a:solidFill>
                  <a:schemeClr val="tx1"/>
                </a:solidFill>
              </a:defRPr>
            </a:lvl4pPr>
            <a:lvl5pPr>
              <a:defRPr lang="de-DE" noProof="0" dirty="0">
                <a:solidFill>
                  <a:schemeClr val="tx1"/>
                </a:solidFill>
              </a:defRPr>
            </a:lvl5pPr>
          </a:lstStyle>
          <a:p>
            <a:pPr lvl="0"/>
            <a:r>
              <a:rPr lang="de-DE" noProof="0"/>
              <a:t>Textmasterformat bearbeiten</a:t>
            </a:r>
          </a:p>
          <a:p>
            <a:pPr lvl="1"/>
            <a:r>
              <a:rPr lang="de-DE" noProof="0"/>
              <a:t>Zweite Ebene</a:t>
            </a:r>
          </a:p>
          <a:p>
            <a:pPr lvl="2"/>
            <a:r>
              <a:rPr lang="de-DE" noProof="0"/>
              <a:t>Dritte Ebene</a:t>
            </a:r>
          </a:p>
        </p:txBody>
      </p:sp>
      <p:sp>
        <p:nvSpPr>
          <p:cNvPr id="4" name="Datumsplatzhalter 3"/>
          <p:cNvSpPr>
            <a:spLocks noGrp="1"/>
          </p:cNvSpPr>
          <p:nvPr>
            <p:ph type="dt" sz="half" idx="22"/>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23"/>
          </p:nvPr>
        </p:nvSpPr>
        <p:spPr/>
        <p:txBody>
          <a:bodyPr/>
          <a:lstStyle/>
          <a:p>
            <a:r>
              <a:rPr lang="de-DE" noProof="0"/>
              <a:t>FZI Forschungszentrum Informatik</a:t>
            </a:r>
          </a:p>
        </p:txBody>
      </p:sp>
      <p:sp>
        <p:nvSpPr>
          <p:cNvPr id="10" name="Foliennummernplatzhalter 9"/>
          <p:cNvSpPr>
            <a:spLocks noGrp="1"/>
          </p:cNvSpPr>
          <p:nvPr>
            <p:ph type="sldNum" sz="quarter" idx="24"/>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35146634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x Content und Bild">
    <p:spTree>
      <p:nvGrpSpPr>
        <p:cNvPr id="1" name=""/>
        <p:cNvGrpSpPr/>
        <p:nvPr/>
      </p:nvGrpSpPr>
      <p:grpSpPr>
        <a:xfrm>
          <a:off x="0" y="0"/>
          <a:ext cx="0" cy="0"/>
          <a:chOff x="0" y="0"/>
          <a:chExt cx="0" cy="0"/>
        </a:xfrm>
      </p:grpSpPr>
      <p:sp>
        <p:nvSpPr>
          <p:cNvPr id="31" name="Inhaltsplatzhalter 30">
            <a:extLst>
              <a:ext uri="{FF2B5EF4-FFF2-40B4-BE49-F238E27FC236}">
                <a16:creationId xmlns:a16="http://schemas.microsoft.com/office/drawing/2014/main" id="{62876264-5968-4E9E-9ED6-910C9977A19A}"/>
              </a:ext>
            </a:extLst>
          </p:cNvPr>
          <p:cNvSpPr>
            <a:spLocks noGrp="1"/>
          </p:cNvSpPr>
          <p:nvPr>
            <p:ph sz="quarter" idx="19"/>
          </p:nvPr>
        </p:nvSpPr>
        <p:spPr bwMode="gray">
          <a:xfrm>
            <a:off x="3952906" y="1512000"/>
            <a:ext cx="7689600" cy="1933200"/>
          </a:xfrm>
          <a:prstGeom prst="rect">
            <a:avLst/>
          </a:prstGeom>
          <a:solidFill>
            <a:schemeClr val="bg1">
              <a:lumMod val="95000"/>
            </a:schemeClr>
          </a:solidFill>
        </p:spPr>
        <p:txBody>
          <a:bodyPr vert="horz" wrap="square" lIns="180000" tIns="180000" rIns="180000" bIns="180000" rtlCol="0" anchor="ctr">
            <a:noAutofit/>
          </a:bodyPr>
          <a:lstStyle>
            <a:lvl1pPr>
              <a:defRPr lang="de-DE" sz="1400" dirty="0" smtClean="0">
                <a:solidFill>
                  <a:schemeClr val="tx2">
                    <a:lumMod val="75000"/>
                  </a:schemeClr>
                </a:solidFill>
              </a:defRPr>
            </a:lvl1pPr>
            <a:lvl2pPr>
              <a:defRPr lang="de-DE" sz="1200" dirty="0" smtClean="0">
                <a:solidFill>
                  <a:schemeClr val="tx2">
                    <a:lumMod val="75000"/>
                  </a:schemeClr>
                </a:solidFill>
              </a:defRPr>
            </a:lvl2pPr>
            <a:lvl3pPr>
              <a:defRPr lang="de-DE" sz="1050" dirty="0" smtClean="0">
                <a:solidFill>
                  <a:schemeClr val="tx2">
                    <a:lumMod val="75000"/>
                  </a:schemeClr>
                </a:solidFill>
              </a:defRPr>
            </a:lvl3pPr>
          </a:lstStyle>
          <a:p>
            <a:pPr marL="270000" lvl="0" indent="-270000"/>
            <a:r>
              <a:rPr lang="de-DE"/>
              <a:t>Formatvorlagen des Textmasters bearbeiten</a:t>
            </a:r>
          </a:p>
          <a:p>
            <a:pPr marL="270000" lvl="1" indent="-270000"/>
            <a:r>
              <a:rPr lang="de-DE"/>
              <a:t>Zweite Ebene</a:t>
            </a:r>
          </a:p>
          <a:p>
            <a:pPr marL="270000" lvl="2" indent="-270000"/>
            <a:r>
              <a:rPr lang="de-DE"/>
              <a:t>Dritte Ebene</a:t>
            </a:r>
          </a:p>
        </p:txBody>
      </p:sp>
      <p:sp>
        <p:nvSpPr>
          <p:cNvPr id="9" name="Bildplatzhalter 8">
            <a:extLst>
              <a:ext uri="{FF2B5EF4-FFF2-40B4-BE49-F238E27FC236}">
                <a16:creationId xmlns:a16="http://schemas.microsoft.com/office/drawing/2014/main" id="{79FA127C-23D9-496C-B002-0B3D5E2F2CD9}"/>
              </a:ext>
            </a:extLst>
          </p:cNvPr>
          <p:cNvSpPr>
            <a:spLocks noGrp="1"/>
          </p:cNvSpPr>
          <p:nvPr>
            <p:ph type="pic" sz="quarter" idx="20"/>
          </p:nvPr>
        </p:nvSpPr>
        <p:spPr>
          <a:xfrm>
            <a:off x="540000" y="1512000"/>
            <a:ext cx="3412906" cy="1933200"/>
          </a:xfrm>
          <a:solidFill>
            <a:schemeClr val="bg1">
              <a:lumMod val="85000"/>
            </a:schemeClr>
          </a:solidFill>
        </p:spPr>
        <p:txBody>
          <a:bodyPr vert="horz" wrap="square" lIns="180000" tIns="180000" rIns="180000" bIns="180000" rtlCol="0">
            <a:noAutofit/>
          </a:bodyPr>
          <a:lstStyle>
            <a:lvl1pPr marL="0" indent="0">
              <a:buNone/>
              <a:defRPr lang="de-DE">
                <a:solidFill>
                  <a:schemeClr val="tx2">
                    <a:lumMod val="75000"/>
                  </a:schemeClr>
                </a:solidFill>
              </a:defRPr>
            </a:lvl1pPr>
          </a:lstStyle>
          <a:p>
            <a:pPr lvl="0"/>
            <a:r>
              <a:rPr lang="de-DE"/>
              <a:t>Bild durch Klicken auf Symbol hinzufügen</a:t>
            </a:r>
          </a:p>
        </p:txBody>
      </p:sp>
      <p:sp>
        <p:nvSpPr>
          <p:cNvPr id="14" name="Inhaltsplatzhalter 11">
            <a:extLst>
              <a:ext uri="{FF2B5EF4-FFF2-40B4-BE49-F238E27FC236}">
                <a16:creationId xmlns:a16="http://schemas.microsoft.com/office/drawing/2014/main" id="{C6B63A53-A9DF-427B-9C90-4680D4AA0F31}"/>
              </a:ext>
            </a:extLst>
          </p:cNvPr>
          <p:cNvSpPr>
            <a:spLocks noGrp="1"/>
          </p:cNvSpPr>
          <p:nvPr>
            <p:ph sz="quarter" idx="21"/>
          </p:nvPr>
        </p:nvSpPr>
        <p:spPr>
          <a:xfrm>
            <a:off x="3950947" y="3877050"/>
            <a:ext cx="7689600" cy="1933200"/>
          </a:xfrm>
          <a:solidFill>
            <a:schemeClr val="bg1">
              <a:lumMod val="95000"/>
            </a:schemeClr>
          </a:solidFill>
        </p:spPr>
        <p:txBody>
          <a:bodyPr vert="horz" lIns="180000" tIns="180000" rIns="180000" bIns="180000" rtlCol="0" anchor="ctr">
            <a:noAutofit/>
          </a:bodyPr>
          <a:lstStyle>
            <a:lvl1pPr>
              <a:defRPr lang="de-DE" sz="1400" dirty="0" smtClean="0">
                <a:solidFill>
                  <a:schemeClr val="tx2">
                    <a:lumMod val="75000"/>
                  </a:schemeClr>
                </a:solidFill>
              </a:defRPr>
            </a:lvl1pPr>
            <a:lvl2pPr>
              <a:defRPr lang="de-DE" sz="1200" dirty="0" smtClean="0">
                <a:solidFill>
                  <a:schemeClr val="tx2">
                    <a:lumMod val="75000"/>
                  </a:schemeClr>
                </a:solidFill>
              </a:defRPr>
            </a:lvl2pPr>
            <a:lvl3pPr>
              <a:defRPr lang="de-DE" sz="1050" dirty="0" smtClean="0">
                <a:solidFill>
                  <a:schemeClr val="tx2">
                    <a:lumMod val="75000"/>
                  </a:schemeClr>
                </a:solidFill>
              </a:defRPr>
            </a:lvl3pPr>
          </a:lstStyle>
          <a:p>
            <a:pPr marL="270000" lvl="0" indent="-270000"/>
            <a:r>
              <a:rPr lang="de-DE"/>
              <a:t>Formatvorlagen des Textmasters bearbeiten</a:t>
            </a:r>
          </a:p>
          <a:p>
            <a:pPr marL="270000" lvl="1" indent="-270000"/>
            <a:r>
              <a:rPr lang="de-DE"/>
              <a:t>Zweite Ebene</a:t>
            </a:r>
          </a:p>
          <a:p>
            <a:pPr marL="270000" lvl="2" indent="-270000"/>
            <a:r>
              <a:rPr lang="de-DE"/>
              <a:t>Dritte Ebene</a:t>
            </a:r>
          </a:p>
        </p:txBody>
      </p:sp>
      <p:sp>
        <p:nvSpPr>
          <p:cNvPr id="16" name="Bildplatzhalter 8">
            <a:extLst>
              <a:ext uri="{FF2B5EF4-FFF2-40B4-BE49-F238E27FC236}">
                <a16:creationId xmlns:a16="http://schemas.microsoft.com/office/drawing/2014/main" id="{07E2DC2A-B582-422C-B115-5D9EF12FDA18}"/>
              </a:ext>
            </a:extLst>
          </p:cNvPr>
          <p:cNvSpPr>
            <a:spLocks noGrp="1"/>
          </p:cNvSpPr>
          <p:nvPr>
            <p:ph type="pic" sz="quarter" idx="22"/>
          </p:nvPr>
        </p:nvSpPr>
        <p:spPr>
          <a:xfrm>
            <a:off x="540000" y="3877050"/>
            <a:ext cx="3412906" cy="1933200"/>
          </a:xfrm>
          <a:solidFill>
            <a:schemeClr val="bg1">
              <a:lumMod val="85000"/>
            </a:schemeClr>
          </a:solidFill>
        </p:spPr>
        <p:txBody>
          <a:bodyPr vert="horz" wrap="square" lIns="180000" tIns="180000" rIns="180000" bIns="180000" rtlCol="0">
            <a:noAutofit/>
          </a:bodyPr>
          <a:lstStyle>
            <a:lvl1pPr marL="0" indent="0">
              <a:buNone/>
              <a:defRPr lang="de-DE">
                <a:solidFill>
                  <a:schemeClr val="tx2">
                    <a:lumMod val="75000"/>
                  </a:schemeClr>
                </a:solidFill>
              </a:defRPr>
            </a:lvl1pPr>
          </a:lstStyle>
          <a:p>
            <a:pPr lvl="0"/>
            <a:r>
              <a:rPr lang="de-DE"/>
              <a:t>Bild durch Klicken auf Symbol hinzufügen</a:t>
            </a:r>
          </a:p>
        </p:txBody>
      </p:sp>
      <p:sp>
        <p:nvSpPr>
          <p:cNvPr id="3" name="Titel 2">
            <a:extLst>
              <a:ext uri="{FF2B5EF4-FFF2-40B4-BE49-F238E27FC236}">
                <a16:creationId xmlns:a16="http://schemas.microsoft.com/office/drawing/2014/main" id="{0B74B1D6-34B5-4E9B-89EA-C1034265BC6E}"/>
              </a:ext>
            </a:extLst>
          </p:cNvPr>
          <p:cNvSpPr>
            <a:spLocks noGrp="1"/>
          </p:cNvSpPr>
          <p:nvPr>
            <p:ph type="title" hasCustomPrompt="1"/>
          </p:nvPr>
        </p:nvSpPr>
        <p:spPr/>
        <p:txBody>
          <a:bodyPr/>
          <a:lstStyle>
            <a:lvl1pPr marL="0" indent="0">
              <a:buClr>
                <a:srgbClr val="002456"/>
              </a:buClr>
              <a:buSzPct val="110000"/>
              <a:buFont typeface="Source Sans Pro" panose="020B05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23"/>
          </p:nvPr>
        </p:nvSpPr>
        <p:spPr/>
        <p:txBody>
          <a:bodyPr/>
          <a:lstStyle/>
          <a:p>
            <a:fld id="{4680A733-F83D-4D19-AF27-7B0B870C8599}" type="datetime1">
              <a:rPr lang="de-DE" noProof="0" smtClean="0"/>
              <a:t>15.01.2025</a:t>
            </a:fld>
            <a:endParaRPr lang="de-DE" noProof="0"/>
          </a:p>
        </p:txBody>
      </p:sp>
      <p:sp>
        <p:nvSpPr>
          <p:cNvPr id="4" name="Fußzeilenplatzhalter 3"/>
          <p:cNvSpPr>
            <a:spLocks noGrp="1"/>
          </p:cNvSpPr>
          <p:nvPr>
            <p:ph type="ftr" sz="quarter" idx="24"/>
          </p:nvPr>
        </p:nvSpPr>
        <p:spPr/>
        <p:txBody>
          <a:bodyPr/>
          <a:lstStyle/>
          <a:p>
            <a:r>
              <a:rPr lang="de-DE" noProof="0"/>
              <a:t>FZI Forschungszentrum Informatik</a:t>
            </a:r>
          </a:p>
        </p:txBody>
      </p:sp>
      <p:sp>
        <p:nvSpPr>
          <p:cNvPr id="8" name="Foliennummernplatzhalter 7"/>
          <p:cNvSpPr>
            <a:spLocks noGrp="1"/>
          </p:cNvSpPr>
          <p:nvPr>
            <p:ph type="sldNum" sz="quarter" idx="25"/>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24511212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und Bild hinter Fläche">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173E5ED-4A98-4A9D-BF40-3C40B45DF2EF}"/>
              </a:ext>
            </a:extLst>
          </p:cNvPr>
          <p:cNvSpPr>
            <a:spLocks noGrp="1"/>
          </p:cNvSpPr>
          <p:nvPr>
            <p:ph type="pic" sz="quarter" idx="15"/>
          </p:nvPr>
        </p:nvSpPr>
        <p:spPr bwMode="gray">
          <a:xfrm>
            <a:off x="0" y="4474800"/>
            <a:ext cx="12216761" cy="2383200"/>
          </a:xfrm>
          <a:custGeom>
            <a:avLst/>
            <a:gdLst>
              <a:gd name="connsiteX0" fmla="*/ 0 w 12189600"/>
              <a:gd name="connsiteY0" fmla="*/ 0 h 2383200"/>
              <a:gd name="connsiteX1" fmla="*/ 12189600 w 12189600"/>
              <a:gd name="connsiteY1" fmla="*/ 0 h 2383200"/>
              <a:gd name="connsiteX2" fmla="*/ 12189600 w 12189600"/>
              <a:gd name="connsiteY2" fmla="*/ 0 h 2383200"/>
              <a:gd name="connsiteX3" fmla="*/ 12189600 w 12189600"/>
              <a:gd name="connsiteY3" fmla="*/ 2383200 h 2383200"/>
              <a:gd name="connsiteX4" fmla="*/ 12189600 w 12189600"/>
              <a:gd name="connsiteY4" fmla="*/ 2383200 h 2383200"/>
              <a:gd name="connsiteX5" fmla="*/ 0 w 12189600"/>
              <a:gd name="connsiteY5" fmla="*/ 2383200 h 2383200"/>
              <a:gd name="connsiteX6" fmla="*/ 0 w 12189600"/>
              <a:gd name="connsiteY6" fmla="*/ 2383200 h 2383200"/>
              <a:gd name="connsiteX7" fmla="*/ 0 w 12189600"/>
              <a:gd name="connsiteY7" fmla="*/ 0 h 2383200"/>
              <a:gd name="connsiteX0" fmla="*/ 0 w 12189600"/>
              <a:gd name="connsiteY0" fmla="*/ 0 h 2383200"/>
              <a:gd name="connsiteX1" fmla="*/ 12189600 w 12189600"/>
              <a:gd name="connsiteY1" fmla="*/ 0 h 2383200"/>
              <a:gd name="connsiteX2" fmla="*/ 11709767 w 12189600"/>
              <a:gd name="connsiteY2" fmla="*/ 217284 h 2383200"/>
              <a:gd name="connsiteX3" fmla="*/ 12189600 w 12189600"/>
              <a:gd name="connsiteY3" fmla="*/ 2383200 h 2383200"/>
              <a:gd name="connsiteX4" fmla="*/ 12189600 w 12189600"/>
              <a:gd name="connsiteY4" fmla="*/ 2383200 h 2383200"/>
              <a:gd name="connsiteX5" fmla="*/ 0 w 12189600"/>
              <a:gd name="connsiteY5" fmla="*/ 2383200 h 2383200"/>
              <a:gd name="connsiteX6" fmla="*/ 0 w 12189600"/>
              <a:gd name="connsiteY6" fmla="*/ 2383200 h 2383200"/>
              <a:gd name="connsiteX7" fmla="*/ 0 w 12189600"/>
              <a:gd name="connsiteY7" fmla="*/ 0 h 2383200"/>
              <a:gd name="connsiteX0" fmla="*/ 0 w 12198654"/>
              <a:gd name="connsiteY0" fmla="*/ 0 h 2383200"/>
              <a:gd name="connsiteX1" fmla="*/ 12189600 w 12198654"/>
              <a:gd name="connsiteY1" fmla="*/ 0 h 2383200"/>
              <a:gd name="connsiteX2" fmla="*/ 12198654 w 12198654"/>
              <a:gd name="connsiteY2" fmla="*/ 1520983 h 2383200"/>
              <a:gd name="connsiteX3" fmla="*/ 12189600 w 12198654"/>
              <a:gd name="connsiteY3" fmla="*/ 2383200 h 2383200"/>
              <a:gd name="connsiteX4" fmla="*/ 12189600 w 12198654"/>
              <a:gd name="connsiteY4" fmla="*/ 2383200 h 2383200"/>
              <a:gd name="connsiteX5" fmla="*/ 0 w 12198654"/>
              <a:gd name="connsiteY5" fmla="*/ 2383200 h 2383200"/>
              <a:gd name="connsiteX6" fmla="*/ 0 w 12198654"/>
              <a:gd name="connsiteY6" fmla="*/ 2383200 h 2383200"/>
              <a:gd name="connsiteX7" fmla="*/ 0 w 12198654"/>
              <a:gd name="connsiteY7" fmla="*/ 0 h 2383200"/>
              <a:gd name="connsiteX0" fmla="*/ 0 w 12216761"/>
              <a:gd name="connsiteY0" fmla="*/ 0 h 2383200"/>
              <a:gd name="connsiteX1" fmla="*/ 12216761 w 12216761"/>
              <a:gd name="connsiteY1" fmla="*/ 1059255 h 2383200"/>
              <a:gd name="connsiteX2" fmla="*/ 12198654 w 12216761"/>
              <a:gd name="connsiteY2" fmla="*/ 1520983 h 2383200"/>
              <a:gd name="connsiteX3" fmla="*/ 12189600 w 12216761"/>
              <a:gd name="connsiteY3" fmla="*/ 2383200 h 2383200"/>
              <a:gd name="connsiteX4" fmla="*/ 12189600 w 12216761"/>
              <a:gd name="connsiteY4" fmla="*/ 2383200 h 2383200"/>
              <a:gd name="connsiteX5" fmla="*/ 0 w 12216761"/>
              <a:gd name="connsiteY5" fmla="*/ 2383200 h 2383200"/>
              <a:gd name="connsiteX6" fmla="*/ 0 w 12216761"/>
              <a:gd name="connsiteY6" fmla="*/ 2383200 h 2383200"/>
              <a:gd name="connsiteX7" fmla="*/ 0 w 12216761"/>
              <a:gd name="connsiteY7" fmla="*/ 0 h 238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16761" h="2383200">
                <a:moveTo>
                  <a:pt x="0" y="0"/>
                </a:moveTo>
                <a:lnTo>
                  <a:pt x="12216761" y="1059255"/>
                </a:lnTo>
                <a:lnTo>
                  <a:pt x="12198654" y="1520983"/>
                </a:lnTo>
                <a:lnTo>
                  <a:pt x="12189600" y="2383200"/>
                </a:lnTo>
                <a:lnTo>
                  <a:pt x="12189600" y="2383200"/>
                </a:lnTo>
                <a:lnTo>
                  <a:pt x="0" y="2383200"/>
                </a:lnTo>
                <a:lnTo>
                  <a:pt x="0" y="2383200"/>
                </a:lnTo>
                <a:lnTo>
                  <a:pt x="0" y="0"/>
                </a:lnTo>
                <a:close/>
              </a:path>
            </a:pathLst>
          </a:custGeom>
          <a:solidFill>
            <a:schemeClr val="bg1">
              <a:lumMod val="85000"/>
            </a:schemeClr>
          </a:solidFill>
        </p:spPr>
        <p:txBody>
          <a:bodyPr lIns="180000" tIns="180000" rIns="180000" bIns="180000"/>
          <a:lstStyle>
            <a:lvl1pPr marL="0" indent="0">
              <a:buNone/>
              <a:defRPr/>
            </a:lvl1pPr>
          </a:lstStyle>
          <a:p>
            <a:r>
              <a:rPr lang="de-DE"/>
              <a:t>Bild durch Klicken auf Symbol hinzufügen</a:t>
            </a:r>
          </a:p>
        </p:txBody>
      </p:sp>
      <p:sp>
        <p:nvSpPr>
          <p:cNvPr id="13" name="Textplatzhalter 12">
            <a:extLst>
              <a:ext uri="{FF2B5EF4-FFF2-40B4-BE49-F238E27FC236}">
                <a16:creationId xmlns:a16="http://schemas.microsoft.com/office/drawing/2014/main" id="{B217018D-F876-42AC-AC82-4A79C0B83F78}"/>
              </a:ext>
            </a:extLst>
          </p:cNvPr>
          <p:cNvSpPr>
            <a:spLocks noGrp="1"/>
          </p:cNvSpPr>
          <p:nvPr>
            <p:ph type="body" sz="quarter" idx="16" hasCustomPrompt="1"/>
          </p:nvPr>
        </p:nvSpPr>
        <p:spPr bwMode="gray">
          <a:xfrm>
            <a:off x="813" y="4474800"/>
            <a:ext cx="12191023" cy="2384425"/>
          </a:xfrm>
          <a:custGeom>
            <a:avLst/>
            <a:gdLst>
              <a:gd name="connsiteX0" fmla="*/ 0 w 12189600"/>
              <a:gd name="connsiteY0" fmla="*/ 2384425 h 2384425"/>
              <a:gd name="connsiteX1" fmla="*/ 596106 w 12189600"/>
              <a:gd name="connsiteY1" fmla="*/ 0 h 2384425"/>
              <a:gd name="connsiteX2" fmla="*/ 11593494 w 12189600"/>
              <a:gd name="connsiteY2" fmla="*/ 0 h 2384425"/>
              <a:gd name="connsiteX3" fmla="*/ 12189600 w 12189600"/>
              <a:gd name="connsiteY3" fmla="*/ 2384425 h 2384425"/>
              <a:gd name="connsiteX4" fmla="*/ 0 w 12189600"/>
              <a:gd name="connsiteY4" fmla="*/ 2384425 h 2384425"/>
              <a:gd name="connsiteX0" fmla="*/ 0 w 12189600"/>
              <a:gd name="connsiteY0" fmla="*/ 2384425 h 2384425"/>
              <a:gd name="connsiteX1" fmla="*/ 7631 w 12189600"/>
              <a:gd name="connsiteY1" fmla="*/ 0 h 2384425"/>
              <a:gd name="connsiteX2" fmla="*/ 11593494 w 12189600"/>
              <a:gd name="connsiteY2" fmla="*/ 0 h 2384425"/>
              <a:gd name="connsiteX3" fmla="*/ 12189600 w 12189600"/>
              <a:gd name="connsiteY3" fmla="*/ 2384425 h 2384425"/>
              <a:gd name="connsiteX4" fmla="*/ 0 w 12189600"/>
              <a:gd name="connsiteY4" fmla="*/ 2384425 h 2384425"/>
              <a:gd name="connsiteX0" fmla="*/ 0 w 12191023"/>
              <a:gd name="connsiteY0" fmla="*/ 2384425 h 2384425"/>
              <a:gd name="connsiteX1" fmla="*/ 7631 w 12191023"/>
              <a:gd name="connsiteY1" fmla="*/ 0 h 2384425"/>
              <a:gd name="connsiteX2" fmla="*/ 12191023 w 12191023"/>
              <a:gd name="connsiteY2" fmla="*/ 1041149 h 2384425"/>
              <a:gd name="connsiteX3" fmla="*/ 12189600 w 12191023"/>
              <a:gd name="connsiteY3" fmla="*/ 2384425 h 2384425"/>
              <a:gd name="connsiteX4" fmla="*/ 0 w 12191023"/>
              <a:gd name="connsiteY4" fmla="*/ 2384425 h 2384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023" h="2384425">
                <a:moveTo>
                  <a:pt x="0" y="2384425"/>
                </a:moveTo>
                <a:cubicBezTo>
                  <a:pt x="2544" y="1589617"/>
                  <a:pt x="5087" y="794808"/>
                  <a:pt x="7631" y="0"/>
                </a:cubicBezTo>
                <a:lnTo>
                  <a:pt x="12191023" y="1041149"/>
                </a:lnTo>
                <a:cubicBezTo>
                  <a:pt x="12190549" y="1488908"/>
                  <a:pt x="12190074" y="1936666"/>
                  <a:pt x="12189600" y="2384425"/>
                </a:cubicBezTo>
                <a:lnTo>
                  <a:pt x="0" y="2384425"/>
                </a:lnTo>
                <a:close/>
              </a:path>
            </a:pathLst>
          </a:custGeom>
          <a:solidFill>
            <a:srgbClr val="2FAE7A">
              <a:alpha val="69804"/>
            </a:srgbClr>
          </a:solidFill>
        </p:spPr>
        <p:txBody>
          <a:bodyPr vert="horz" lIns="540000" tIns="180000" rIns="540000" bIns="180000" rtlCol="0" anchor="ctr">
            <a:noAutofit/>
          </a:bodyPr>
          <a:lstStyle>
            <a:lvl1pPr marL="0" indent="0">
              <a:buClr>
                <a:schemeClr val="bg1"/>
              </a:buClr>
              <a:buNone/>
              <a:defRPr lang="de-DE" b="1" smtClean="0">
                <a:solidFill>
                  <a:schemeClr val="bg1"/>
                </a:solidFill>
                <a:latin typeface="Source Sans Pro" panose="020B0503030403020204" pitchFamily="34" charset="0"/>
              </a:defRPr>
            </a:lvl1pPr>
            <a:lvl2pPr marL="450000" indent="0">
              <a:buNone/>
              <a:defRPr lang="de-DE" smtClean="0"/>
            </a:lvl2pPr>
            <a:lvl3pPr>
              <a:defRPr lang="de-DE" smtClean="0"/>
            </a:lvl3pPr>
            <a:lvl4pPr>
              <a:defRPr lang="de-DE" smtClean="0"/>
            </a:lvl4pPr>
            <a:lvl5pPr>
              <a:defRPr lang="de-DE"/>
            </a:lvl5pPr>
          </a:lstStyle>
          <a:p>
            <a:pPr marL="270000" lvl="0" indent="-270000"/>
            <a:r>
              <a:rPr lang="de-DE"/>
              <a:t>Formatvorlagen des Textmasters bearbeiten</a:t>
            </a:r>
          </a:p>
        </p:txBody>
      </p:sp>
      <p:sp>
        <p:nvSpPr>
          <p:cNvPr id="7" name="Datumsplatzhalter 6"/>
          <p:cNvSpPr>
            <a:spLocks noGrp="1"/>
          </p:cNvSpPr>
          <p:nvPr>
            <p:ph type="dt" sz="half" idx="17"/>
          </p:nvPr>
        </p:nvSpPr>
        <p:spPr/>
        <p:txBody>
          <a:bodyPr/>
          <a:lstStyle>
            <a:lvl1pPr>
              <a:defRPr>
                <a:solidFill>
                  <a:schemeClr val="bg1"/>
                </a:solidFill>
              </a:defRPr>
            </a:lvl1pPr>
          </a:lstStyle>
          <a:p>
            <a:fld id="{4680A733-F83D-4D19-AF27-7B0B870C8599}" type="datetime1">
              <a:rPr lang="de-DE" smtClean="0"/>
              <a:pPr/>
              <a:t>15.01.2025</a:t>
            </a:fld>
            <a:endParaRPr lang="de-DE"/>
          </a:p>
        </p:txBody>
      </p:sp>
      <p:sp>
        <p:nvSpPr>
          <p:cNvPr id="8" name="Fußzeilenplatzhalter 7"/>
          <p:cNvSpPr>
            <a:spLocks noGrp="1"/>
          </p:cNvSpPr>
          <p:nvPr>
            <p:ph type="ftr" sz="quarter" idx="18"/>
          </p:nvPr>
        </p:nvSpPr>
        <p:spPr>
          <a:xfrm>
            <a:off x="3934800" y="6326760"/>
            <a:ext cx="4320000" cy="360000"/>
          </a:xfrm>
        </p:spPr>
        <p:txBody>
          <a:bodyPr/>
          <a:lstStyle>
            <a:lvl1pPr>
              <a:defRPr>
                <a:solidFill>
                  <a:schemeClr val="bg1"/>
                </a:solidFill>
              </a:defRPr>
            </a:lvl1pPr>
          </a:lstStyle>
          <a:p>
            <a:r>
              <a:rPr lang="de-DE"/>
              <a:t>FZI Forschungszentrum Informatik</a:t>
            </a:r>
          </a:p>
        </p:txBody>
      </p:sp>
      <p:sp>
        <p:nvSpPr>
          <p:cNvPr id="9" name="Foliennummernplatzhalter 8"/>
          <p:cNvSpPr>
            <a:spLocks noGrp="1"/>
          </p:cNvSpPr>
          <p:nvPr>
            <p:ph type="sldNum" sz="quarter" idx="19"/>
          </p:nvPr>
        </p:nvSpPr>
        <p:spPr>
          <a:xfrm>
            <a:off x="540813" y="6326760"/>
            <a:ext cx="900000" cy="360000"/>
          </a:xfrm>
        </p:spPr>
        <p:txBody>
          <a:bodyPr/>
          <a:lstStyle>
            <a:lvl1pPr>
              <a:defRPr>
                <a:solidFill>
                  <a:schemeClr val="bg1"/>
                </a:solidFill>
              </a:defRPr>
            </a:lvl1pPr>
          </a:lstStyle>
          <a:p>
            <a:fld id="{02CEFE82-39F2-4F47-8A0C-D5AB3496FA5C}" type="slidenum">
              <a:rPr lang="de-DE" smtClean="0"/>
              <a:pPr/>
              <a:t>‹#›</a:t>
            </a:fld>
            <a:endParaRPr lang="de-DE"/>
          </a:p>
        </p:txBody>
      </p:sp>
      <p:sp>
        <p:nvSpPr>
          <p:cNvPr id="11" name="Titel 2">
            <a:extLst>
              <a:ext uri="{FF2B5EF4-FFF2-40B4-BE49-F238E27FC236}">
                <a16:creationId xmlns:a16="http://schemas.microsoft.com/office/drawing/2014/main" id="{5D7A489B-02B9-4503-A940-ADBDC68BD7BD}"/>
              </a:ext>
            </a:extLst>
          </p:cNvPr>
          <p:cNvSpPr>
            <a:spLocks noGrp="1"/>
          </p:cNvSpPr>
          <p:nvPr>
            <p:ph type="title" hasCustomPrompt="1"/>
          </p:nvPr>
        </p:nvSpPr>
        <p:spPr>
          <a:xfrm>
            <a:off x="540000" y="432000"/>
            <a:ext cx="9669600" cy="539685"/>
          </a:xfrm>
        </p:spPr>
        <p:txBody>
          <a:bodyPr/>
          <a:lstStyle>
            <a:lvl1pPr marL="0" indent="0">
              <a:buClr>
                <a:srgbClr val="0E2356"/>
              </a:buClr>
              <a:buSzPct val="110000"/>
              <a:buFont typeface="Source Sans Pro SemiBold" panose="020B0603030403020204" pitchFamily="34" charset="0"/>
              <a:buNone/>
              <a:defRPr b="1">
                <a:solidFill>
                  <a:srgbClr val="0E2356"/>
                </a:solidFill>
              </a:defRPr>
            </a:lvl1pPr>
          </a:lstStyle>
          <a:p>
            <a:r>
              <a:rPr lang="de-DE"/>
              <a:t>Titelmasterformat bearbeiten</a:t>
            </a:r>
          </a:p>
        </p:txBody>
      </p:sp>
      <p:sp>
        <p:nvSpPr>
          <p:cNvPr id="12" name="Inhalt"/>
          <p:cNvSpPr>
            <a:spLocks noGrp="1"/>
          </p:cNvSpPr>
          <p:nvPr>
            <p:ph sz="half" idx="20"/>
          </p:nvPr>
        </p:nvSpPr>
        <p:spPr bwMode="gray">
          <a:xfrm>
            <a:off x="539998" y="1512000"/>
            <a:ext cx="11109602" cy="2791560"/>
          </a:xfrm>
        </p:spPr>
        <p:txBody>
          <a:bodyPr/>
          <a:lstStyle>
            <a:lvl1pPr marL="270000" indent="-270000">
              <a:buClr>
                <a:srgbClr val="2FAE7A"/>
              </a:buClr>
              <a:buFont typeface="Source Sans Pro Black" panose="020B0803030403020204" pitchFamily="34" charset="0"/>
              <a:buChar char="‒"/>
              <a:defRPr sz="1600">
                <a:solidFill>
                  <a:schemeClr val="tx2">
                    <a:lumMod val="75000"/>
                  </a:schemeClr>
                </a:solidFill>
              </a:defRPr>
            </a:lvl1pPr>
            <a:lvl2pPr marL="720000" indent="-270000">
              <a:buClr>
                <a:srgbClr val="2FAE7A"/>
              </a:buClr>
              <a:buFont typeface="Source Sans Pro Black" panose="020B0803030403020204" pitchFamily="34" charset="0"/>
              <a:buChar char="‒"/>
              <a:defRPr sz="1400">
                <a:solidFill>
                  <a:schemeClr val="tx2">
                    <a:lumMod val="75000"/>
                  </a:schemeClr>
                </a:solidFill>
              </a:defRPr>
            </a:lvl2pPr>
            <a:lvl3pPr marL="1080000" indent="-270000">
              <a:buClr>
                <a:srgbClr val="2FAE7A"/>
              </a:buClr>
              <a:buFont typeface="Source Sans Pro Black" panose="020B0803030403020204" pitchFamily="34" charset="0"/>
              <a:buChar char="‒"/>
              <a:defRPr sz="1200">
                <a:solidFill>
                  <a:schemeClr val="tx2">
                    <a:lumMod val="75000"/>
                  </a:schemeClr>
                </a:solidFill>
              </a:defRPr>
            </a:lvl3pPr>
            <a:lvl4pPr marL="1440000" indent="-270000">
              <a:buClr>
                <a:srgbClr val="2FAE7A"/>
              </a:buClr>
              <a:buFont typeface="Source Sans Pro Black" panose="020B0803030403020204" pitchFamily="34" charset="0"/>
              <a:buChar char="‒"/>
              <a:defRPr sz="1050">
                <a:solidFill>
                  <a:schemeClr val="tx2">
                    <a:lumMod val="75000"/>
                  </a:schemeClr>
                </a:solidFill>
              </a:defRPr>
            </a:lvl4pPr>
            <a:lvl5pPr marL="1800000" indent="-270000">
              <a:buClr>
                <a:srgbClr val="2FAE7A"/>
              </a:buClr>
              <a:buFont typeface="Source Sans Pro Black" panose="020B0803030403020204" pitchFamily="34" charset="0"/>
              <a:buChar char="‒"/>
              <a:defRPr sz="900">
                <a:solidFill>
                  <a:schemeClr val="tx2">
                    <a:lumMod val="75000"/>
                  </a:schemeClr>
                </a:solidFill>
              </a:defRPr>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5" name="Textplatzhalter 3">
            <a:extLst>
              <a:ext uri="{FF2B5EF4-FFF2-40B4-BE49-F238E27FC236}">
                <a16:creationId xmlns:a16="http://schemas.microsoft.com/office/drawing/2014/main" id="{E5099914-7874-4637-AE82-C43268E2E775}"/>
              </a:ext>
            </a:extLst>
          </p:cNvPr>
          <p:cNvSpPr>
            <a:spLocks noGrp="1"/>
          </p:cNvSpPr>
          <p:nvPr>
            <p:ph type="body" sz="quarter" idx="28" hasCustomPrompt="1"/>
          </p:nvPr>
        </p:nvSpPr>
        <p:spPr>
          <a:xfrm>
            <a:off x="539751" y="971685"/>
            <a:ext cx="9669850" cy="528638"/>
          </a:xfrm>
        </p:spPr>
        <p:txBody>
          <a:bodyPr/>
          <a:lstStyle>
            <a:lvl1pPr marL="0" indent="0">
              <a:buNone/>
              <a:defRPr sz="2000">
                <a:solidFill>
                  <a:srgbClr val="2FAE7A"/>
                </a:solidFill>
              </a:defRPr>
            </a:lvl1pPr>
          </a:lstStyle>
          <a:p>
            <a:pPr lvl="0"/>
            <a:r>
              <a:rPr lang="de-DE"/>
              <a:t>Das ist eine optionale </a:t>
            </a:r>
            <a:r>
              <a:rPr lang="de-DE" err="1"/>
              <a:t>Subline</a:t>
            </a:r>
            <a:r>
              <a:rPr lang="de-DE"/>
              <a:t>. Bei Nichtnutzung einfach löschen. </a:t>
            </a:r>
          </a:p>
        </p:txBody>
      </p:sp>
    </p:spTree>
    <p:extLst>
      <p:ext uri="{BB962C8B-B14F-4D97-AF65-F5344CB8AC3E}">
        <p14:creationId xmlns:p14="http://schemas.microsoft.com/office/powerpoint/2010/main" val="3397456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und 3x Box">
    <p:spTree>
      <p:nvGrpSpPr>
        <p:cNvPr id="1" name=""/>
        <p:cNvGrpSpPr/>
        <p:nvPr/>
      </p:nvGrpSpPr>
      <p:grpSpPr>
        <a:xfrm>
          <a:off x="0" y="0"/>
          <a:ext cx="0" cy="0"/>
          <a:chOff x="0" y="0"/>
          <a:chExt cx="0" cy="0"/>
        </a:xfrm>
      </p:grpSpPr>
      <p:sp>
        <p:nvSpPr>
          <p:cNvPr id="74" name="Inhalt"/>
          <p:cNvSpPr>
            <a:spLocks noGrp="1"/>
          </p:cNvSpPr>
          <p:nvPr>
            <p:ph idx="18"/>
          </p:nvPr>
        </p:nvSpPr>
        <p:spPr bwMode="gray">
          <a:xfrm>
            <a:off x="540000" y="1511998"/>
            <a:ext cx="11109600" cy="1432652"/>
          </a:xfrm>
        </p:spPr>
        <p:txBody>
          <a:bodyPr/>
          <a:lstStyle>
            <a:lvl1pPr marL="270000" indent="-270000">
              <a:buClr>
                <a:srgbClr val="2FAE7A"/>
              </a:buClr>
              <a:buFont typeface="Source Sans Pro Black" panose="020B0803030403020204" pitchFamily="34" charset="0"/>
              <a:buChar char="‒"/>
              <a:defRPr/>
            </a:lvl1pPr>
          </a:lstStyle>
          <a:p>
            <a:pPr lvl="0"/>
            <a:r>
              <a:rPr lang="de-DE" noProof="0"/>
              <a:t>Formatvorlagen des Textmasters bearbeiten</a:t>
            </a:r>
          </a:p>
          <a:p>
            <a:pPr lvl="1"/>
            <a:r>
              <a:rPr lang="de-DE" noProof="0"/>
              <a:t>Zweite Ebene</a:t>
            </a:r>
          </a:p>
        </p:txBody>
      </p:sp>
      <p:sp>
        <p:nvSpPr>
          <p:cNvPr id="24" name="Textplatzhalter 23">
            <a:extLst>
              <a:ext uri="{FF2B5EF4-FFF2-40B4-BE49-F238E27FC236}">
                <a16:creationId xmlns:a16="http://schemas.microsoft.com/office/drawing/2014/main" id="{A5F5BD0A-4F87-49BC-8A0B-2A692665BCDD}"/>
              </a:ext>
            </a:extLst>
          </p:cNvPr>
          <p:cNvSpPr>
            <a:spLocks noGrp="1"/>
          </p:cNvSpPr>
          <p:nvPr>
            <p:ph type="body" sz="quarter" idx="22" hasCustomPrompt="1"/>
          </p:nvPr>
        </p:nvSpPr>
        <p:spPr bwMode="gray">
          <a:xfrm>
            <a:off x="540000" y="3088650"/>
            <a:ext cx="3607200" cy="2721600"/>
          </a:xfrm>
          <a:prstGeom prst="rect">
            <a:avLst/>
          </a:prstGeom>
          <a:solidFill>
            <a:schemeClr val="bg1">
              <a:lumMod val="95000"/>
            </a:schemeClr>
          </a:solidFill>
        </p:spPr>
        <p:txBody>
          <a:bodyPr wrap="square" lIns="360000" tIns="360000" rIns="360000" bIns="360000" anchor="b">
            <a:noAutofit/>
          </a:bodyPr>
          <a:lstStyle>
            <a:lvl1pPr marL="0" indent="0" algn="l">
              <a:buNone/>
              <a:defRPr sz="1400">
                <a:solidFill>
                  <a:schemeClr val="tx2">
                    <a:lumMod val="75000"/>
                  </a:schemeClr>
                </a:solidFill>
              </a:defRPr>
            </a:lvl1pPr>
            <a:lvl2pPr marL="450000" indent="0">
              <a:buNone/>
              <a:defRPr>
                <a:solidFill>
                  <a:schemeClr val="tx1"/>
                </a:solidFill>
              </a:defRPr>
            </a:lvl2pPr>
            <a:lvl3pPr marL="810000" indent="0">
              <a:buNone/>
              <a:defRPr>
                <a:solidFill>
                  <a:schemeClr val="tx1"/>
                </a:solidFill>
              </a:defRPr>
            </a:lvl3pPr>
            <a:lvl4pPr>
              <a:defRPr>
                <a:solidFill>
                  <a:schemeClr val="bg1"/>
                </a:solidFill>
              </a:defRPr>
            </a:lvl4pPr>
            <a:lvl5pPr>
              <a:defRPr>
                <a:solidFill>
                  <a:schemeClr val="bg1"/>
                </a:solidFill>
              </a:defRPr>
            </a:lvl5pPr>
          </a:lstStyle>
          <a:p>
            <a:pPr lvl="0"/>
            <a:r>
              <a:rPr lang="de-DE" noProof="0"/>
              <a:t>Textmasterformat </a:t>
            </a:r>
            <a:br>
              <a:rPr lang="de-DE" noProof="0"/>
            </a:br>
            <a:r>
              <a:rPr lang="de-DE" noProof="0"/>
              <a:t>bearbeiten</a:t>
            </a:r>
          </a:p>
        </p:txBody>
      </p:sp>
      <p:sp>
        <p:nvSpPr>
          <p:cNvPr id="20" name="Textplatzhalter 19">
            <a:extLst>
              <a:ext uri="{FF2B5EF4-FFF2-40B4-BE49-F238E27FC236}">
                <a16:creationId xmlns:a16="http://schemas.microsoft.com/office/drawing/2014/main" id="{C6A9FBC2-62C6-450F-963C-687EE20ED46B}"/>
              </a:ext>
            </a:extLst>
          </p:cNvPr>
          <p:cNvSpPr>
            <a:spLocks noGrp="1"/>
          </p:cNvSpPr>
          <p:nvPr>
            <p:ph type="body" sz="quarter" idx="24" hasCustomPrompt="1"/>
          </p:nvPr>
        </p:nvSpPr>
        <p:spPr bwMode="gray">
          <a:xfrm>
            <a:off x="4291200" y="3088650"/>
            <a:ext cx="3607200" cy="2721600"/>
          </a:xfrm>
          <a:prstGeom prst="rect">
            <a:avLst/>
          </a:prstGeom>
          <a:solidFill>
            <a:schemeClr val="bg1">
              <a:lumMod val="95000"/>
            </a:schemeClr>
          </a:solidFill>
        </p:spPr>
        <p:txBody>
          <a:bodyPr wrap="square" lIns="360000" tIns="360000" rIns="360000" bIns="360000" anchor="b">
            <a:noAutofit/>
          </a:bodyPr>
          <a:lstStyle>
            <a:lvl1pPr marL="0" indent="0" algn="l">
              <a:buNone/>
              <a:defRPr sz="1400">
                <a:solidFill>
                  <a:schemeClr val="tx2">
                    <a:lumMod val="75000"/>
                  </a:schemeClr>
                </a:solidFill>
              </a:defRPr>
            </a:lvl1pPr>
            <a:lvl2pPr marL="450000" indent="0">
              <a:buNone/>
              <a:defRPr>
                <a:solidFill>
                  <a:schemeClr val="tx1"/>
                </a:solidFill>
              </a:defRPr>
            </a:lvl2pPr>
            <a:lvl3pPr marL="810000" indent="0">
              <a:buNone/>
              <a:defRPr>
                <a:solidFill>
                  <a:schemeClr val="tx1"/>
                </a:solidFill>
              </a:defRPr>
            </a:lvl3pPr>
            <a:lvl4pPr>
              <a:defRPr>
                <a:solidFill>
                  <a:schemeClr val="bg1"/>
                </a:solidFill>
              </a:defRPr>
            </a:lvl4pPr>
            <a:lvl5pPr>
              <a:defRPr>
                <a:solidFill>
                  <a:schemeClr val="bg1"/>
                </a:solidFill>
              </a:defRPr>
            </a:lvl5pPr>
          </a:lstStyle>
          <a:p>
            <a:pPr lvl="0"/>
            <a:r>
              <a:rPr lang="de-DE" noProof="0"/>
              <a:t>Textmasterformat </a:t>
            </a:r>
            <a:br>
              <a:rPr lang="de-DE" noProof="0"/>
            </a:br>
            <a:r>
              <a:rPr lang="de-DE" noProof="0"/>
              <a:t>bearbeiten</a:t>
            </a:r>
          </a:p>
        </p:txBody>
      </p:sp>
      <p:sp>
        <p:nvSpPr>
          <p:cNvPr id="17" name="Textplatzhalter 16">
            <a:extLst>
              <a:ext uri="{FF2B5EF4-FFF2-40B4-BE49-F238E27FC236}">
                <a16:creationId xmlns:a16="http://schemas.microsoft.com/office/drawing/2014/main" id="{CC7A3C3A-436B-4808-9182-0AAFD3D49D1A}"/>
              </a:ext>
            </a:extLst>
          </p:cNvPr>
          <p:cNvSpPr>
            <a:spLocks noGrp="1"/>
          </p:cNvSpPr>
          <p:nvPr>
            <p:ph type="body" sz="quarter" idx="26" hasCustomPrompt="1"/>
          </p:nvPr>
        </p:nvSpPr>
        <p:spPr bwMode="gray">
          <a:xfrm>
            <a:off x="8042400" y="3088650"/>
            <a:ext cx="3607200" cy="2721600"/>
          </a:xfrm>
          <a:prstGeom prst="rect">
            <a:avLst/>
          </a:prstGeom>
          <a:solidFill>
            <a:schemeClr val="bg1">
              <a:lumMod val="95000"/>
            </a:schemeClr>
          </a:solidFill>
        </p:spPr>
        <p:txBody>
          <a:bodyPr wrap="square" lIns="360000" tIns="360000" rIns="360000" bIns="360000" anchor="b">
            <a:noAutofit/>
          </a:bodyPr>
          <a:lstStyle>
            <a:lvl1pPr marL="0" indent="0" algn="l">
              <a:buNone/>
              <a:defRPr sz="1400">
                <a:solidFill>
                  <a:schemeClr val="tx2">
                    <a:lumMod val="75000"/>
                  </a:schemeClr>
                </a:solidFill>
              </a:defRPr>
            </a:lvl1pPr>
            <a:lvl2pPr marL="450000" indent="0">
              <a:buNone/>
              <a:defRPr>
                <a:solidFill>
                  <a:schemeClr val="tx1"/>
                </a:solidFill>
              </a:defRPr>
            </a:lvl2pPr>
            <a:lvl3pPr marL="810000" indent="0">
              <a:buNone/>
              <a:defRPr>
                <a:solidFill>
                  <a:schemeClr val="tx1"/>
                </a:solidFill>
              </a:defRPr>
            </a:lvl3pPr>
            <a:lvl4pPr>
              <a:defRPr>
                <a:solidFill>
                  <a:schemeClr val="bg1"/>
                </a:solidFill>
              </a:defRPr>
            </a:lvl4pPr>
            <a:lvl5pPr>
              <a:defRPr>
                <a:solidFill>
                  <a:schemeClr val="bg1"/>
                </a:solidFill>
              </a:defRPr>
            </a:lvl5pPr>
          </a:lstStyle>
          <a:p>
            <a:pPr lvl="0"/>
            <a:r>
              <a:rPr lang="de-DE" noProof="0"/>
              <a:t>Textmasterformat </a:t>
            </a:r>
            <a:br>
              <a:rPr lang="de-DE" noProof="0"/>
            </a:br>
            <a:r>
              <a:rPr lang="de-DE" noProof="0"/>
              <a:t>bearbeiten</a:t>
            </a:r>
          </a:p>
        </p:txBody>
      </p:sp>
      <p:sp>
        <p:nvSpPr>
          <p:cNvPr id="10" name="Titel 9">
            <a:extLst>
              <a:ext uri="{FF2B5EF4-FFF2-40B4-BE49-F238E27FC236}">
                <a16:creationId xmlns:a16="http://schemas.microsoft.com/office/drawing/2014/main" id="{84F7DF9B-7026-4678-9A90-41AB611CE262}"/>
              </a:ext>
            </a:extLst>
          </p:cNvPr>
          <p:cNvSpPr>
            <a:spLocks noGrp="1"/>
          </p:cNvSpPr>
          <p:nvPr>
            <p:ph type="title" hasCustomPrompt="1"/>
          </p:nvPr>
        </p:nvSpPr>
        <p:spPr/>
        <p:txBody>
          <a:bodyPr/>
          <a:lstStyle>
            <a:lvl1pPr marL="0" indent="0">
              <a:buClr>
                <a:srgbClr val="002456"/>
              </a:buClr>
              <a:buSzPct val="110000"/>
              <a:buFont typeface="Source Sans Pro" panose="020B05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27"/>
          </p:nvPr>
        </p:nvSpPr>
        <p:spPr/>
        <p:txBody>
          <a:bodyPr/>
          <a:lstStyle/>
          <a:p>
            <a:fld id="{4680A733-F83D-4D19-AF27-7B0B870C8599}" type="datetime1">
              <a:rPr lang="de-DE" noProof="0" smtClean="0"/>
              <a:t>15.01.2025</a:t>
            </a:fld>
            <a:endParaRPr lang="de-DE" noProof="0"/>
          </a:p>
        </p:txBody>
      </p:sp>
      <p:sp>
        <p:nvSpPr>
          <p:cNvPr id="3" name="Fußzeilenplatzhalter 2"/>
          <p:cNvSpPr>
            <a:spLocks noGrp="1"/>
          </p:cNvSpPr>
          <p:nvPr>
            <p:ph type="ftr" sz="quarter" idx="28"/>
          </p:nvPr>
        </p:nvSpPr>
        <p:spPr/>
        <p:txBody>
          <a:bodyPr/>
          <a:lstStyle/>
          <a:p>
            <a:r>
              <a:rPr lang="de-DE" noProof="0"/>
              <a:t>FZI Forschungszentrum Informatik</a:t>
            </a:r>
          </a:p>
        </p:txBody>
      </p:sp>
      <p:sp>
        <p:nvSpPr>
          <p:cNvPr id="7" name="Foliennummernplatzhalter 6"/>
          <p:cNvSpPr>
            <a:spLocks noGrp="1"/>
          </p:cNvSpPr>
          <p:nvPr>
            <p:ph type="sldNum" sz="quarter" idx="29"/>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9412562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x Bild mit Unterzeile">
    <p:spTree>
      <p:nvGrpSpPr>
        <p:cNvPr id="1" name=""/>
        <p:cNvGrpSpPr/>
        <p:nvPr/>
      </p:nvGrpSpPr>
      <p:grpSpPr>
        <a:xfrm>
          <a:off x="0" y="0"/>
          <a:ext cx="0" cy="0"/>
          <a:chOff x="0" y="0"/>
          <a:chExt cx="0" cy="0"/>
        </a:xfrm>
      </p:grpSpPr>
      <p:sp>
        <p:nvSpPr>
          <p:cNvPr id="40" name="Bildplatzhalter 37">
            <a:extLst>
              <a:ext uri="{FF2B5EF4-FFF2-40B4-BE49-F238E27FC236}">
                <a16:creationId xmlns:a16="http://schemas.microsoft.com/office/drawing/2014/main" id="{BACE67F3-129E-4A37-AA2B-2B74E473302F}"/>
              </a:ext>
            </a:extLst>
          </p:cNvPr>
          <p:cNvSpPr>
            <a:spLocks noGrp="1"/>
          </p:cNvSpPr>
          <p:nvPr>
            <p:ph type="pic" sz="quarter" idx="17"/>
          </p:nvPr>
        </p:nvSpPr>
        <p:spPr>
          <a:xfrm>
            <a:off x="540000" y="1728137"/>
            <a:ext cx="3607200" cy="2077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17" name="Bildplatzhalter 37">
            <a:extLst>
              <a:ext uri="{FF2B5EF4-FFF2-40B4-BE49-F238E27FC236}">
                <a16:creationId xmlns:a16="http://schemas.microsoft.com/office/drawing/2014/main" id="{F3CFB424-DED0-479C-A1A4-C4898C7FD768}"/>
              </a:ext>
            </a:extLst>
          </p:cNvPr>
          <p:cNvSpPr>
            <a:spLocks noGrp="1"/>
          </p:cNvSpPr>
          <p:nvPr>
            <p:ph type="pic" sz="quarter" idx="18"/>
          </p:nvPr>
        </p:nvSpPr>
        <p:spPr>
          <a:xfrm>
            <a:off x="4291200" y="1728137"/>
            <a:ext cx="3607200" cy="2077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18" name="Bildplatzhalter 37">
            <a:extLst>
              <a:ext uri="{FF2B5EF4-FFF2-40B4-BE49-F238E27FC236}">
                <a16:creationId xmlns:a16="http://schemas.microsoft.com/office/drawing/2014/main" id="{10B01D59-59E6-4735-BCF2-D5F56AD7A69D}"/>
              </a:ext>
            </a:extLst>
          </p:cNvPr>
          <p:cNvSpPr>
            <a:spLocks noGrp="1"/>
          </p:cNvSpPr>
          <p:nvPr>
            <p:ph type="pic" sz="quarter" idx="19"/>
          </p:nvPr>
        </p:nvSpPr>
        <p:spPr>
          <a:xfrm>
            <a:off x="8042400" y="1728137"/>
            <a:ext cx="3607200" cy="2077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20" name="Bildplatzhalter 37">
            <a:extLst>
              <a:ext uri="{FF2B5EF4-FFF2-40B4-BE49-F238E27FC236}">
                <a16:creationId xmlns:a16="http://schemas.microsoft.com/office/drawing/2014/main" id="{CBB818E9-760C-4D0E-927A-364FE2C3CC7D}"/>
              </a:ext>
            </a:extLst>
          </p:cNvPr>
          <p:cNvSpPr>
            <a:spLocks noGrp="1"/>
          </p:cNvSpPr>
          <p:nvPr>
            <p:ph type="pic" sz="quarter" idx="21"/>
          </p:nvPr>
        </p:nvSpPr>
        <p:spPr>
          <a:xfrm>
            <a:off x="540000" y="3949187"/>
            <a:ext cx="3607200" cy="2077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21" name="Bildplatzhalter 37">
            <a:extLst>
              <a:ext uri="{FF2B5EF4-FFF2-40B4-BE49-F238E27FC236}">
                <a16:creationId xmlns:a16="http://schemas.microsoft.com/office/drawing/2014/main" id="{3B31CCEE-682F-4182-AFA8-33D9E2A1C4C8}"/>
              </a:ext>
            </a:extLst>
          </p:cNvPr>
          <p:cNvSpPr>
            <a:spLocks noGrp="1"/>
          </p:cNvSpPr>
          <p:nvPr>
            <p:ph type="pic" sz="quarter" idx="22"/>
          </p:nvPr>
        </p:nvSpPr>
        <p:spPr>
          <a:xfrm>
            <a:off x="4291200" y="3949187"/>
            <a:ext cx="3607200" cy="2077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22" name="Bildplatzhalter 37">
            <a:extLst>
              <a:ext uri="{FF2B5EF4-FFF2-40B4-BE49-F238E27FC236}">
                <a16:creationId xmlns:a16="http://schemas.microsoft.com/office/drawing/2014/main" id="{35586E43-0CFC-40BC-8983-C179716E6801}"/>
              </a:ext>
            </a:extLst>
          </p:cNvPr>
          <p:cNvSpPr>
            <a:spLocks noGrp="1"/>
          </p:cNvSpPr>
          <p:nvPr>
            <p:ph type="pic" sz="quarter" idx="23"/>
          </p:nvPr>
        </p:nvSpPr>
        <p:spPr>
          <a:xfrm>
            <a:off x="8042400" y="3949187"/>
            <a:ext cx="3607200" cy="2077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2" name="Titel 1">
            <a:extLst>
              <a:ext uri="{FF2B5EF4-FFF2-40B4-BE49-F238E27FC236}">
                <a16:creationId xmlns:a16="http://schemas.microsoft.com/office/drawing/2014/main" id="{0FDEE11E-48D8-4F03-87A2-764967E9E895}"/>
              </a:ext>
            </a:extLst>
          </p:cNvPr>
          <p:cNvSpPr>
            <a:spLocks noGrp="1"/>
          </p:cNvSpPr>
          <p:nvPr>
            <p:ph type="title" hasCustomPrompt="1"/>
          </p:nvPr>
        </p:nvSpPr>
        <p:spPr/>
        <p:txBody>
          <a:bodyPr/>
          <a:lstStyle>
            <a:lvl1pPr marL="0" indent="0">
              <a:buClr>
                <a:srgbClr val="002456"/>
              </a:buClr>
              <a:buSzPct val="110000"/>
              <a:buFont typeface="Source Sans Pro" panose="020B05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3" name="Textplatzhalter 3">
            <a:extLst>
              <a:ext uri="{FF2B5EF4-FFF2-40B4-BE49-F238E27FC236}">
                <a16:creationId xmlns:a16="http://schemas.microsoft.com/office/drawing/2014/main" id="{2E566F3A-186E-4E04-A1D6-4E5049ACB17C}"/>
              </a:ext>
            </a:extLst>
          </p:cNvPr>
          <p:cNvSpPr>
            <a:spLocks noGrp="1"/>
          </p:cNvSpPr>
          <p:nvPr>
            <p:ph type="body" sz="quarter" idx="33" hasCustomPrompt="1"/>
          </p:nvPr>
        </p:nvSpPr>
        <p:spPr>
          <a:xfrm>
            <a:off x="540000" y="3445337"/>
            <a:ext cx="3607200" cy="360000"/>
          </a:xfrm>
          <a:solidFill>
            <a:srgbClr val="2FAE7A"/>
          </a:solidFill>
        </p:spPr>
        <p:txBody>
          <a:bodyPr vert="horz" lIns="180000" tIns="0" rIns="180000" bIns="0" rtlCol="0" anchor="ctr">
            <a:noAutofit/>
          </a:bodyPr>
          <a:lstStyle>
            <a:lvl1pPr marL="0" indent="0">
              <a:buClr>
                <a:schemeClr val="bg1"/>
              </a:buClr>
              <a:buFont typeface="Wingdings" panose="05000000000000000000" pitchFamily="2" charset="2"/>
              <a:buNone/>
              <a:defRPr lang="de-DE" sz="1600" dirty="0" smtClean="0">
                <a:solidFill>
                  <a:schemeClr val="bg1"/>
                </a:solidFill>
              </a:defRPr>
            </a:lvl1pPr>
            <a:lvl2pPr>
              <a:defRPr lang="de-DE" sz="1800" dirty="0" smtClean="0">
                <a:solidFill>
                  <a:schemeClr val="bg1"/>
                </a:solidFill>
              </a:defRPr>
            </a:lvl2pPr>
            <a:lvl3pPr>
              <a:defRPr lang="de-DE" sz="1800" dirty="0" smtClean="0">
                <a:solidFill>
                  <a:schemeClr val="bg1"/>
                </a:solidFill>
              </a:defRPr>
            </a:lvl3pPr>
            <a:lvl4pPr>
              <a:defRPr lang="de-DE" sz="1800" dirty="0" smtClean="0">
                <a:solidFill>
                  <a:schemeClr val="bg1"/>
                </a:solidFill>
              </a:defRPr>
            </a:lvl4pPr>
            <a:lvl5pPr>
              <a:defRPr lang="de-DE" sz="1800" dirty="0">
                <a:solidFill>
                  <a:schemeClr val="bg1"/>
                </a:solidFill>
              </a:defRPr>
            </a:lvl5pPr>
          </a:lstStyle>
          <a:p>
            <a:pPr marL="270000" lvl="0" indent="-270000"/>
            <a:r>
              <a:rPr lang="de-DE"/>
              <a:t>Textformat bearbeiten</a:t>
            </a:r>
          </a:p>
        </p:txBody>
      </p:sp>
      <p:sp>
        <p:nvSpPr>
          <p:cNvPr id="27" name="Textplatzhalter 3">
            <a:extLst>
              <a:ext uri="{FF2B5EF4-FFF2-40B4-BE49-F238E27FC236}">
                <a16:creationId xmlns:a16="http://schemas.microsoft.com/office/drawing/2014/main" id="{22D841DF-4AF2-4991-AFAC-A92FF377F7F4}"/>
              </a:ext>
            </a:extLst>
          </p:cNvPr>
          <p:cNvSpPr>
            <a:spLocks noGrp="1"/>
          </p:cNvSpPr>
          <p:nvPr>
            <p:ph type="body" sz="quarter" idx="34" hasCustomPrompt="1"/>
          </p:nvPr>
        </p:nvSpPr>
        <p:spPr>
          <a:xfrm>
            <a:off x="4291200" y="3445337"/>
            <a:ext cx="3607200" cy="360000"/>
          </a:xfrm>
          <a:solidFill>
            <a:srgbClr val="2FAE7A"/>
          </a:solidFill>
        </p:spPr>
        <p:txBody>
          <a:bodyPr vert="horz" lIns="180000" tIns="0" rIns="180000" bIns="0" rtlCol="0" anchor="ctr">
            <a:noAutofit/>
          </a:bodyPr>
          <a:lstStyle>
            <a:lvl1pPr marL="0" indent="0">
              <a:buClr>
                <a:schemeClr val="bg1"/>
              </a:buClr>
              <a:buFont typeface="Wingdings" panose="05000000000000000000" pitchFamily="2" charset="2"/>
              <a:buNone/>
              <a:defRPr lang="de-DE" sz="1600" dirty="0" smtClean="0">
                <a:solidFill>
                  <a:schemeClr val="bg1"/>
                </a:solidFill>
              </a:defRPr>
            </a:lvl1pPr>
            <a:lvl2pPr>
              <a:defRPr lang="de-DE" sz="1800" dirty="0" smtClean="0">
                <a:solidFill>
                  <a:schemeClr val="bg1"/>
                </a:solidFill>
              </a:defRPr>
            </a:lvl2pPr>
            <a:lvl3pPr>
              <a:defRPr lang="de-DE" sz="1800" dirty="0" smtClean="0">
                <a:solidFill>
                  <a:schemeClr val="bg1"/>
                </a:solidFill>
              </a:defRPr>
            </a:lvl3pPr>
            <a:lvl4pPr>
              <a:defRPr lang="de-DE" sz="1800" dirty="0" smtClean="0">
                <a:solidFill>
                  <a:schemeClr val="bg1"/>
                </a:solidFill>
              </a:defRPr>
            </a:lvl4pPr>
            <a:lvl5pPr>
              <a:defRPr lang="de-DE" sz="1800" dirty="0">
                <a:solidFill>
                  <a:schemeClr val="bg1"/>
                </a:solidFill>
              </a:defRPr>
            </a:lvl5pPr>
          </a:lstStyle>
          <a:p>
            <a:pPr marL="270000" lvl="0" indent="-270000"/>
            <a:r>
              <a:rPr lang="de-DE"/>
              <a:t>Textformat bearbeiten</a:t>
            </a:r>
          </a:p>
        </p:txBody>
      </p:sp>
      <p:sp>
        <p:nvSpPr>
          <p:cNvPr id="28" name="Textplatzhalter 3">
            <a:extLst>
              <a:ext uri="{FF2B5EF4-FFF2-40B4-BE49-F238E27FC236}">
                <a16:creationId xmlns:a16="http://schemas.microsoft.com/office/drawing/2014/main" id="{55C103B0-2477-4BD4-99B2-1A32B68F3635}"/>
              </a:ext>
            </a:extLst>
          </p:cNvPr>
          <p:cNvSpPr>
            <a:spLocks noGrp="1"/>
          </p:cNvSpPr>
          <p:nvPr>
            <p:ph type="body" sz="quarter" idx="35" hasCustomPrompt="1"/>
          </p:nvPr>
        </p:nvSpPr>
        <p:spPr>
          <a:xfrm>
            <a:off x="8042400" y="3445337"/>
            <a:ext cx="3607200" cy="360000"/>
          </a:xfrm>
          <a:solidFill>
            <a:srgbClr val="2FAE7A"/>
          </a:solidFill>
        </p:spPr>
        <p:txBody>
          <a:bodyPr vert="horz" lIns="180000" tIns="0" rIns="180000" bIns="0" rtlCol="0" anchor="ctr">
            <a:noAutofit/>
          </a:bodyPr>
          <a:lstStyle>
            <a:lvl1pPr marL="0" indent="0">
              <a:buClr>
                <a:schemeClr val="bg1"/>
              </a:buClr>
              <a:buFont typeface="Wingdings" panose="05000000000000000000" pitchFamily="2" charset="2"/>
              <a:buNone/>
              <a:defRPr lang="de-DE" sz="1600" dirty="0" smtClean="0">
                <a:solidFill>
                  <a:schemeClr val="bg1"/>
                </a:solidFill>
              </a:defRPr>
            </a:lvl1pPr>
            <a:lvl2pPr>
              <a:defRPr lang="de-DE" sz="1800" dirty="0" smtClean="0">
                <a:solidFill>
                  <a:schemeClr val="bg1"/>
                </a:solidFill>
              </a:defRPr>
            </a:lvl2pPr>
            <a:lvl3pPr>
              <a:defRPr lang="de-DE" sz="1800" dirty="0" smtClean="0">
                <a:solidFill>
                  <a:schemeClr val="bg1"/>
                </a:solidFill>
              </a:defRPr>
            </a:lvl3pPr>
            <a:lvl4pPr>
              <a:defRPr lang="de-DE" sz="1800" dirty="0" smtClean="0">
                <a:solidFill>
                  <a:schemeClr val="bg1"/>
                </a:solidFill>
              </a:defRPr>
            </a:lvl4pPr>
            <a:lvl5pPr>
              <a:defRPr lang="de-DE" sz="1800" dirty="0">
                <a:solidFill>
                  <a:schemeClr val="bg1"/>
                </a:solidFill>
              </a:defRPr>
            </a:lvl5pPr>
          </a:lstStyle>
          <a:p>
            <a:pPr marL="270000" lvl="0" indent="-270000"/>
            <a:r>
              <a:rPr lang="de-DE"/>
              <a:t>Textformat bearbeiten</a:t>
            </a:r>
          </a:p>
        </p:txBody>
      </p:sp>
      <p:sp>
        <p:nvSpPr>
          <p:cNvPr id="34" name="Textplatzhalter 3">
            <a:extLst>
              <a:ext uri="{FF2B5EF4-FFF2-40B4-BE49-F238E27FC236}">
                <a16:creationId xmlns:a16="http://schemas.microsoft.com/office/drawing/2014/main" id="{63DB26EF-726C-4523-8214-128ED55EBAE0}"/>
              </a:ext>
            </a:extLst>
          </p:cNvPr>
          <p:cNvSpPr>
            <a:spLocks noGrp="1"/>
          </p:cNvSpPr>
          <p:nvPr>
            <p:ph type="body" sz="quarter" idx="37" hasCustomPrompt="1"/>
          </p:nvPr>
        </p:nvSpPr>
        <p:spPr>
          <a:xfrm>
            <a:off x="540000" y="5666387"/>
            <a:ext cx="3607200" cy="360000"/>
          </a:xfrm>
          <a:solidFill>
            <a:srgbClr val="2FAE7A"/>
          </a:solidFill>
        </p:spPr>
        <p:txBody>
          <a:bodyPr vert="horz" lIns="180000" tIns="0" rIns="180000" bIns="0" rtlCol="0" anchor="ctr">
            <a:noAutofit/>
          </a:bodyPr>
          <a:lstStyle>
            <a:lvl1pPr marL="0" indent="0">
              <a:buClr>
                <a:schemeClr val="bg1"/>
              </a:buClr>
              <a:buNone/>
              <a:defRPr lang="de-DE" sz="1600" dirty="0" smtClean="0">
                <a:solidFill>
                  <a:schemeClr val="bg1"/>
                </a:solidFill>
              </a:defRPr>
            </a:lvl1pPr>
            <a:lvl2pPr>
              <a:defRPr lang="de-DE" sz="1800" dirty="0" smtClean="0">
                <a:solidFill>
                  <a:schemeClr val="bg1"/>
                </a:solidFill>
              </a:defRPr>
            </a:lvl2pPr>
            <a:lvl3pPr>
              <a:defRPr lang="de-DE" sz="1800" dirty="0" smtClean="0">
                <a:solidFill>
                  <a:schemeClr val="bg1"/>
                </a:solidFill>
              </a:defRPr>
            </a:lvl3pPr>
            <a:lvl4pPr>
              <a:defRPr lang="de-DE" sz="1800" dirty="0" smtClean="0">
                <a:solidFill>
                  <a:schemeClr val="bg1"/>
                </a:solidFill>
              </a:defRPr>
            </a:lvl4pPr>
            <a:lvl5pPr>
              <a:defRPr lang="de-DE" sz="1800" dirty="0">
                <a:solidFill>
                  <a:schemeClr val="bg1"/>
                </a:solidFill>
              </a:defRPr>
            </a:lvl5pPr>
          </a:lstStyle>
          <a:p>
            <a:pPr marL="270000" lvl="0" indent="-270000"/>
            <a:r>
              <a:rPr lang="de-DE"/>
              <a:t>Textformat bearbeiten</a:t>
            </a:r>
          </a:p>
        </p:txBody>
      </p:sp>
      <p:sp>
        <p:nvSpPr>
          <p:cNvPr id="36" name="Textplatzhalter 3">
            <a:extLst>
              <a:ext uri="{FF2B5EF4-FFF2-40B4-BE49-F238E27FC236}">
                <a16:creationId xmlns:a16="http://schemas.microsoft.com/office/drawing/2014/main" id="{419A4019-B760-403C-BE7B-CA4FF193CD6C}"/>
              </a:ext>
            </a:extLst>
          </p:cNvPr>
          <p:cNvSpPr>
            <a:spLocks noGrp="1"/>
          </p:cNvSpPr>
          <p:nvPr>
            <p:ph type="body" sz="quarter" idx="38" hasCustomPrompt="1"/>
          </p:nvPr>
        </p:nvSpPr>
        <p:spPr>
          <a:xfrm>
            <a:off x="4291200" y="5666387"/>
            <a:ext cx="3607200" cy="360000"/>
          </a:xfrm>
          <a:solidFill>
            <a:srgbClr val="2FAE7A"/>
          </a:solidFill>
        </p:spPr>
        <p:txBody>
          <a:bodyPr vert="horz" lIns="180000" tIns="0" rIns="180000" bIns="0" rtlCol="0" anchor="ctr">
            <a:noAutofit/>
          </a:bodyPr>
          <a:lstStyle>
            <a:lvl1pPr marL="0" indent="0">
              <a:buClr>
                <a:schemeClr val="bg1"/>
              </a:buClr>
              <a:buNone/>
              <a:defRPr lang="de-DE" sz="1600" dirty="0" smtClean="0">
                <a:solidFill>
                  <a:schemeClr val="bg1"/>
                </a:solidFill>
              </a:defRPr>
            </a:lvl1pPr>
            <a:lvl2pPr>
              <a:defRPr lang="de-DE" sz="1800" dirty="0" smtClean="0">
                <a:solidFill>
                  <a:schemeClr val="bg1"/>
                </a:solidFill>
              </a:defRPr>
            </a:lvl2pPr>
            <a:lvl3pPr>
              <a:defRPr lang="de-DE" sz="1800" dirty="0" smtClean="0">
                <a:solidFill>
                  <a:schemeClr val="bg1"/>
                </a:solidFill>
              </a:defRPr>
            </a:lvl3pPr>
            <a:lvl4pPr>
              <a:defRPr lang="de-DE" sz="1800" dirty="0" smtClean="0">
                <a:solidFill>
                  <a:schemeClr val="bg1"/>
                </a:solidFill>
              </a:defRPr>
            </a:lvl4pPr>
            <a:lvl5pPr>
              <a:defRPr lang="de-DE" sz="1800" dirty="0">
                <a:solidFill>
                  <a:schemeClr val="bg1"/>
                </a:solidFill>
              </a:defRPr>
            </a:lvl5pPr>
          </a:lstStyle>
          <a:p>
            <a:pPr marL="270000" lvl="0" indent="-270000"/>
            <a:r>
              <a:rPr lang="de-DE"/>
              <a:t>Textformat bearbeiten</a:t>
            </a:r>
          </a:p>
        </p:txBody>
      </p:sp>
      <p:sp>
        <p:nvSpPr>
          <p:cNvPr id="37" name="Textplatzhalter 3">
            <a:extLst>
              <a:ext uri="{FF2B5EF4-FFF2-40B4-BE49-F238E27FC236}">
                <a16:creationId xmlns:a16="http://schemas.microsoft.com/office/drawing/2014/main" id="{BAFDB80F-41A9-4162-B649-F32C2D9BBE37}"/>
              </a:ext>
            </a:extLst>
          </p:cNvPr>
          <p:cNvSpPr>
            <a:spLocks noGrp="1"/>
          </p:cNvSpPr>
          <p:nvPr>
            <p:ph type="body" sz="quarter" idx="39" hasCustomPrompt="1"/>
          </p:nvPr>
        </p:nvSpPr>
        <p:spPr>
          <a:xfrm>
            <a:off x="8042400" y="5666387"/>
            <a:ext cx="3607200" cy="360000"/>
          </a:xfrm>
          <a:solidFill>
            <a:srgbClr val="2FAE7A"/>
          </a:solidFill>
        </p:spPr>
        <p:txBody>
          <a:bodyPr vert="horz" lIns="180000" tIns="0" rIns="180000" bIns="0" rtlCol="0" anchor="ctr">
            <a:noAutofit/>
          </a:bodyPr>
          <a:lstStyle>
            <a:lvl1pPr marL="0" indent="0">
              <a:buClr>
                <a:schemeClr val="bg1"/>
              </a:buClr>
              <a:buNone/>
              <a:defRPr lang="de-DE" sz="1600" dirty="0" smtClean="0">
                <a:solidFill>
                  <a:schemeClr val="bg1"/>
                </a:solidFill>
              </a:defRPr>
            </a:lvl1pPr>
            <a:lvl2pPr>
              <a:defRPr lang="de-DE" sz="1800" dirty="0" smtClean="0">
                <a:solidFill>
                  <a:schemeClr val="bg1"/>
                </a:solidFill>
              </a:defRPr>
            </a:lvl2pPr>
            <a:lvl3pPr>
              <a:defRPr lang="de-DE" sz="1800" dirty="0" smtClean="0">
                <a:solidFill>
                  <a:schemeClr val="bg1"/>
                </a:solidFill>
              </a:defRPr>
            </a:lvl3pPr>
            <a:lvl4pPr>
              <a:defRPr lang="de-DE" sz="1800" dirty="0" smtClean="0">
                <a:solidFill>
                  <a:schemeClr val="bg1"/>
                </a:solidFill>
              </a:defRPr>
            </a:lvl4pPr>
            <a:lvl5pPr>
              <a:defRPr lang="de-DE" sz="1800" dirty="0">
                <a:solidFill>
                  <a:schemeClr val="bg1"/>
                </a:solidFill>
              </a:defRPr>
            </a:lvl5pPr>
          </a:lstStyle>
          <a:p>
            <a:pPr marL="270000" lvl="0" indent="-270000"/>
            <a:r>
              <a:rPr lang="de-DE"/>
              <a:t>Textformat bearbeiten</a:t>
            </a:r>
          </a:p>
        </p:txBody>
      </p:sp>
      <p:sp>
        <p:nvSpPr>
          <p:cNvPr id="3" name="Datumsplatzhalter 2"/>
          <p:cNvSpPr>
            <a:spLocks noGrp="1"/>
          </p:cNvSpPr>
          <p:nvPr>
            <p:ph type="dt" sz="half" idx="40"/>
          </p:nvPr>
        </p:nvSpPr>
        <p:spPr/>
        <p:txBody>
          <a:bodyPr/>
          <a:lstStyle/>
          <a:p>
            <a:fld id="{4680A733-F83D-4D19-AF27-7B0B870C8599}" type="datetime1">
              <a:rPr lang="de-DE" noProof="0" smtClean="0"/>
              <a:t>15.01.2025</a:t>
            </a:fld>
            <a:endParaRPr lang="de-DE" noProof="0"/>
          </a:p>
        </p:txBody>
      </p:sp>
      <p:sp>
        <p:nvSpPr>
          <p:cNvPr id="4" name="Fußzeilenplatzhalter 3"/>
          <p:cNvSpPr>
            <a:spLocks noGrp="1"/>
          </p:cNvSpPr>
          <p:nvPr>
            <p:ph type="ftr" sz="quarter" idx="41"/>
          </p:nvPr>
        </p:nvSpPr>
        <p:spPr/>
        <p:txBody>
          <a:bodyPr/>
          <a:lstStyle/>
          <a:p>
            <a:r>
              <a:rPr lang="de-DE" noProof="0"/>
              <a:t>FZI Forschungszentrum Informatik</a:t>
            </a:r>
          </a:p>
        </p:txBody>
      </p:sp>
      <p:sp>
        <p:nvSpPr>
          <p:cNvPr id="8" name="Foliennummernplatzhalter 7"/>
          <p:cNvSpPr>
            <a:spLocks noGrp="1"/>
          </p:cNvSpPr>
          <p:nvPr>
            <p:ph type="sldNum" sz="quarter" idx="42"/>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20877005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x Bild mit Unterzeile und Text">
    <p:spTree>
      <p:nvGrpSpPr>
        <p:cNvPr id="1" name=""/>
        <p:cNvGrpSpPr/>
        <p:nvPr/>
      </p:nvGrpSpPr>
      <p:grpSpPr>
        <a:xfrm>
          <a:off x="0" y="0"/>
          <a:ext cx="0" cy="0"/>
          <a:chOff x="0" y="0"/>
          <a:chExt cx="0" cy="0"/>
        </a:xfrm>
      </p:grpSpPr>
      <p:sp>
        <p:nvSpPr>
          <p:cNvPr id="25" name="Bild 1">
            <a:extLst>
              <a:ext uri="{FF2B5EF4-FFF2-40B4-BE49-F238E27FC236}">
                <a16:creationId xmlns:a16="http://schemas.microsoft.com/office/drawing/2014/main" id="{D704CF33-35D5-43F8-909B-6DEDC7A19343}"/>
              </a:ext>
            </a:extLst>
          </p:cNvPr>
          <p:cNvSpPr>
            <a:spLocks noGrp="1" noChangeAspect="1"/>
          </p:cNvSpPr>
          <p:nvPr>
            <p:ph type="pic" sz="quarter" idx="15"/>
          </p:nvPr>
        </p:nvSpPr>
        <p:spPr bwMode="gray">
          <a:xfrm>
            <a:off x="540000" y="1728131"/>
            <a:ext cx="3663959" cy="2124000"/>
          </a:xfrm>
          <a:solidFill>
            <a:schemeClr val="bg1">
              <a:lumMod val="85000"/>
            </a:schemeClr>
          </a:solidFill>
        </p:spPr>
        <p:txBody>
          <a:bodyPr lIns="180000" tIns="180000" rIns="180000" bIns="180000"/>
          <a:lstStyle>
            <a:lvl1pPr marL="0" indent="0">
              <a:buNone/>
              <a:defRPr/>
            </a:lvl1pPr>
          </a:lstStyle>
          <a:p>
            <a:r>
              <a:rPr lang="de-DE" noProof="0"/>
              <a:t>Bild durch Klicken auf Symbol hinzufügen</a:t>
            </a:r>
          </a:p>
        </p:txBody>
      </p:sp>
      <p:sp>
        <p:nvSpPr>
          <p:cNvPr id="52" name="Textplatzhalter 51">
            <a:extLst>
              <a:ext uri="{FF2B5EF4-FFF2-40B4-BE49-F238E27FC236}">
                <a16:creationId xmlns:a16="http://schemas.microsoft.com/office/drawing/2014/main" id="{0847ADA0-AFB3-4C03-BDD5-A020F7AAE6FC}"/>
              </a:ext>
            </a:extLst>
          </p:cNvPr>
          <p:cNvSpPr>
            <a:spLocks noGrp="1"/>
          </p:cNvSpPr>
          <p:nvPr>
            <p:ph type="body" sz="quarter" idx="19" hasCustomPrompt="1"/>
          </p:nvPr>
        </p:nvSpPr>
        <p:spPr>
          <a:xfrm>
            <a:off x="540000" y="3852132"/>
            <a:ext cx="3663958" cy="2174250"/>
          </a:xfrm>
          <a:solidFill>
            <a:schemeClr val="bg1">
              <a:lumMod val="95000"/>
            </a:schemeClr>
          </a:solidFill>
        </p:spPr>
        <p:txBody>
          <a:bodyPr vert="horz" lIns="180000" tIns="180000" rIns="180000" bIns="144000" rtlCol="0">
            <a:noAutofit/>
          </a:bodyPr>
          <a:lstStyle>
            <a:lvl1pPr>
              <a:defRPr lang="de-DE" sz="1400" smtClean="0">
                <a:solidFill>
                  <a:schemeClr val="tx2">
                    <a:lumMod val="75000"/>
                  </a:schemeClr>
                </a:solidFill>
              </a:defRPr>
            </a:lvl1pPr>
            <a:lvl2pPr>
              <a:defRPr lang="de-DE" sz="1200" smtClean="0">
                <a:solidFill>
                  <a:schemeClr val="tx2">
                    <a:lumMod val="75000"/>
                  </a:schemeClr>
                </a:solidFill>
              </a:defRPr>
            </a:lvl2pPr>
            <a:lvl3pPr>
              <a:defRPr lang="de-DE" sz="1050" smtClean="0">
                <a:solidFill>
                  <a:schemeClr val="tx2">
                    <a:lumMod val="75000"/>
                  </a:schemeClr>
                </a:solidFill>
              </a:defRPr>
            </a:lvl3pPr>
            <a:lvl4pPr>
              <a:defRPr lang="de-DE" sz="900" smtClean="0">
                <a:solidFill>
                  <a:schemeClr val="tx2">
                    <a:lumMod val="75000"/>
                  </a:schemeClr>
                </a:solidFill>
              </a:defRPr>
            </a:lvl4pPr>
            <a:lvl5pPr>
              <a:defRPr lang="en-US">
                <a:solidFill>
                  <a:schemeClr val="tx1"/>
                </a:solidFill>
              </a:defRPr>
            </a:lvl5pPr>
          </a:lstStyle>
          <a:p>
            <a:pPr lvl="0"/>
            <a:r>
              <a:rPr lang="de-DE"/>
              <a:t>Textmasterformat bearbeiten</a:t>
            </a:r>
          </a:p>
          <a:p>
            <a:pPr lvl="1"/>
            <a:r>
              <a:rPr lang="de-DE"/>
              <a:t>Zweite Ebene</a:t>
            </a:r>
          </a:p>
          <a:p>
            <a:pPr lvl="2"/>
            <a:r>
              <a:rPr lang="de-DE"/>
              <a:t>Dritte Ebene</a:t>
            </a:r>
          </a:p>
          <a:p>
            <a:pPr lvl="3"/>
            <a:r>
              <a:rPr lang="de-DE"/>
              <a:t>Vierte Ebene</a:t>
            </a:r>
          </a:p>
        </p:txBody>
      </p:sp>
      <p:sp>
        <p:nvSpPr>
          <p:cNvPr id="53" name="Bild 1">
            <a:extLst>
              <a:ext uri="{FF2B5EF4-FFF2-40B4-BE49-F238E27FC236}">
                <a16:creationId xmlns:a16="http://schemas.microsoft.com/office/drawing/2014/main" id="{F2F99FF3-4259-4441-89A9-4CBA732E9E6D}"/>
              </a:ext>
            </a:extLst>
          </p:cNvPr>
          <p:cNvSpPr>
            <a:spLocks noGrp="1" noChangeAspect="1"/>
          </p:cNvSpPr>
          <p:nvPr>
            <p:ph type="pic" sz="quarter" idx="20"/>
          </p:nvPr>
        </p:nvSpPr>
        <p:spPr bwMode="gray">
          <a:xfrm>
            <a:off x="4257767" y="1728131"/>
            <a:ext cx="3663959" cy="2124000"/>
          </a:xfrm>
          <a:solidFill>
            <a:schemeClr val="bg1">
              <a:lumMod val="85000"/>
            </a:schemeClr>
          </a:solidFill>
        </p:spPr>
        <p:txBody>
          <a:bodyPr lIns="180000" tIns="180000" rIns="180000" bIns="180000"/>
          <a:lstStyle>
            <a:lvl1pPr marL="0" indent="0">
              <a:buNone/>
              <a:defRPr/>
            </a:lvl1pPr>
          </a:lstStyle>
          <a:p>
            <a:r>
              <a:rPr lang="de-DE" noProof="0"/>
              <a:t>Bild durch Klicken auf Symbol hinzufügen</a:t>
            </a:r>
          </a:p>
        </p:txBody>
      </p:sp>
      <p:sp>
        <p:nvSpPr>
          <p:cNvPr id="55" name="Textplatzhalter 51">
            <a:extLst>
              <a:ext uri="{FF2B5EF4-FFF2-40B4-BE49-F238E27FC236}">
                <a16:creationId xmlns:a16="http://schemas.microsoft.com/office/drawing/2014/main" id="{73C87B52-DBA8-4D6E-9389-19D74098B933}"/>
              </a:ext>
            </a:extLst>
          </p:cNvPr>
          <p:cNvSpPr>
            <a:spLocks noGrp="1"/>
          </p:cNvSpPr>
          <p:nvPr>
            <p:ph type="body" sz="quarter" idx="22" hasCustomPrompt="1"/>
          </p:nvPr>
        </p:nvSpPr>
        <p:spPr>
          <a:xfrm>
            <a:off x="4257767" y="3852132"/>
            <a:ext cx="3663958" cy="2174250"/>
          </a:xfrm>
          <a:solidFill>
            <a:schemeClr val="bg1">
              <a:lumMod val="95000"/>
            </a:schemeClr>
          </a:solidFill>
        </p:spPr>
        <p:txBody>
          <a:bodyPr vert="horz" lIns="180000" tIns="180000" rIns="180000" bIns="144000" rtlCol="0">
            <a:noAutofit/>
          </a:bodyPr>
          <a:lstStyle>
            <a:lvl1pPr>
              <a:defRPr lang="de-DE" sz="1400" smtClean="0">
                <a:solidFill>
                  <a:schemeClr val="tx2">
                    <a:lumMod val="75000"/>
                  </a:schemeClr>
                </a:solidFill>
              </a:defRPr>
            </a:lvl1pPr>
            <a:lvl2pPr>
              <a:defRPr lang="de-DE" sz="1200" smtClean="0">
                <a:solidFill>
                  <a:schemeClr val="tx2">
                    <a:lumMod val="75000"/>
                  </a:schemeClr>
                </a:solidFill>
              </a:defRPr>
            </a:lvl2pPr>
            <a:lvl3pPr>
              <a:defRPr lang="de-DE" sz="1050" smtClean="0">
                <a:solidFill>
                  <a:schemeClr val="tx2">
                    <a:lumMod val="75000"/>
                  </a:schemeClr>
                </a:solidFill>
              </a:defRPr>
            </a:lvl3pPr>
            <a:lvl4pPr>
              <a:defRPr lang="de-DE" sz="900" smtClean="0">
                <a:solidFill>
                  <a:schemeClr val="tx2">
                    <a:lumMod val="75000"/>
                  </a:schemeClr>
                </a:solidFill>
              </a:defRPr>
            </a:lvl4pPr>
            <a:lvl5pPr>
              <a:defRPr lang="en-US">
                <a:solidFill>
                  <a:schemeClr val="tx1"/>
                </a:solidFill>
              </a:defRPr>
            </a:lvl5pPr>
          </a:lstStyle>
          <a:p>
            <a:pPr lvl="0"/>
            <a:r>
              <a:rPr lang="de-DE"/>
              <a:t>Textmasterformat bearbeiten</a:t>
            </a:r>
          </a:p>
          <a:p>
            <a:pPr lvl="1"/>
            <a:r>
              <a:rPr lang="de-DE"/>
              <a:t>Zweite Ebene</a:t>
            </a:r>
          </a:p>
          <a:p>
            <a:pPr lvl="2"/>
            <a:r>
              <a:rPr lang="de-DE"/>
              <a:t>Dritte Ebene</a:t>
            </a:r>
          </a:p>
          <a:p>
            <a:pPr lvl="3"/>
            <a:r>
              <a:rPr lang="de-DE"/>
              <a:t>Vierte Ebene</a:t>
            </a:r>
          </a:p>
        </p:txBody>
      </p:sp>
      <p:sp>
        <p:nvSpPr>
          <p:cNvPr id="60" name="Bildplatzhalter 59">
            <a:extLst>
              <a:ext uri="{FF2B5EF4-FFF2-40B4-BE49-F238E27FC236}">
                <a16:creationId xmlns:a16="http://schemas.microsoft.com/office/drawing/2014/main" id="{9885A13F-9AAC-4F87-8E00-E262610D6BD6}"/>
              </a:ext>
            </a:extLst>
          </p:cNvPr>
          <p:cNvSpPr>
            <a:spLocks noGrp="1" noChangeAspect="1"/>
          </p:cNvSpPr>
          <p:nvPr>
            <p:ph type="pic" sz="quarter" idx="23"/>
          </p:nvPr>
        </p:nvSpPr>
        <p:spPr bwMode="gray">
          <a:xfrm>
            <a:off x="7975534" y="1728131"/>
            <a:ext cx="3663959" cy="2124000"/>
          </a:xfrm>
          <a:prstGeom prst="rect">
            <a:avLst/>
          </a:prstGeom>
          <a:solidFill>
            <a:schemeClr val="bg1">
              <a:lumMod val="85000"/>
            </a:schemeClr>
          </a:solidFill>
        </p:spPr>
        <p:txBody>
          <a:bodyPr wrap="square" lIns="180000" tIns="180000" rIns="180000" bIns="180000">
            <a:noAutofit/>
          </a:bodyPr>
          <a:lstStyle>
            <a:lvl1pPr marL="0" indent="0">
              <a:buNone/>
              <a:defRPr/>
            </a:lvl1pPr>
          </a:lstStyle>
          <a:p>
            <a:r>
              <a:rPr lang="de-DE" noProof="0"/>
              <a:t>Bild durch Klicken auf Symbol hinzufügen</a:t>
            </a:r>
          </a:p>
        </p:txBody>
      </p:sp>
      <p:sp>
        <p:nvSpPr>
          <p:cNvPr id="58" name="Textplatzhalter 51">
            <a:extLst>
              <a:ext uri="{FF2B5EF4-FFF2-40B4-BE49-F238E27FC236}">
                <a16:creationId xmlns:a16="http://schemas.microsoft.com/office/drawing/2014/main" id="{7CBB49CB-81CE-4501-83B8-92EB28B1D7F2}"/>
              </a:ext>
            </a:extLst>
          </p:cNvPr>
          <p:cNvSpPr>
            <a:spLocks noGrp="1"/>
          </p:cNvSpPr>
          <p:nvPr>
            <p:ph type="body" sz="quarter" idx="25" hasCustomPrompt="1"/>
          </p:nvPr>
        </p:nvSpPr>
        <p:spPr>
          <a:xfrm>
            <a:off x="7975535" y="3852132"/>
            <a:ext cx="3663958" cy="2174250"/>
          </a:xfrm>
          <a:solidFill>
            <a:schemeClr val="bg1">
              <a:lumMod val="95000"/>
            </a:schemeClr>
          </a:solidFill>
        </p:spPr>
        <p:txBody>
          <a:bodyPr vert="horz" lIns="180000" tIns="180000" rIns="180000" bIns="144000" rtlCol="0">
            <a:noAutofit/>
          </a:bodyPr>
          <a:lstStyle>
            <a:lvl1pPr>
              <a:defRPr lang="de-DE" sz="1400" smtClean="0">
                <a:solidFill>
                  <a:schemeClr val="tx2">
                    <a:lumMod val="75000"/>
                  </a:schemeClr>
                </a:solidFill>
              </a:defRPr>
            </a:lvl1pPr>
            <a:lvl2pPr>
              <a:defRPr lang="de-DE" sz="1200" smtClean="0">
                <a:solidFill>
                  <a:schemeClr val="tx2">
                    <a:lumMod val="75000"/>
                  </a:schemeClr>
                </a:solidFill>
              </a:defRPr>
            </a:lvl2pPr>
            <a:lvl3pPr>
              <a:defRPr lang="de-DE" sz="1050" smtClean="0">
                <a:solidFill>
                  <a:schemeClr val="tx2">
                    <a:lumMod val="75000"/>
                  </a:schemeClr>
                </a:solidFill>
              </a:defRPr>
            </a:lvl3pPr>
            <a:lvl4pPr>
              <a:defRPr lang="de-DE" sz="900" smtClean="0">
                <a:solidFill>
                  <a:schemeClr val="tx2">
                    <a:lumMod val="75000"/>
                  </a:schemeClr>
                </a:solidFill>
              </a:defRPr>
            </a:lvl4pPr>
            <a:lvl5pPr>
              <a:defRPr lang="en-US">
                <a:solidFill>
                  <a:schemeClr val="tx1"/>
                </a:solidFill>
              </a:defRPr>
            </a:lvl5pPr>
          </a:lstStyle>
          <a:p>
            <a:pPr lvl="0"/>
            <a:r>
              <a:rPr lang="de-DE"/>
              <a:t>Textmasterformat bearbeiten</a:t>
            </a:r>
          </a:p>
          <a:p>
            <a:pPr lvl="1"/>
            <a:r>
              <a:rPr lang="de-DE"/>
              <a:t>Zweite Ebene</a:t>
            </a:r>
          </a:p>
          <a:p>
            <a:pPr lvl="2"/>
            <a:r>
              <a:rPr lang="de-DE"/>
              <a:t>Dritte Ebene</a:t>
            </a:r>
          </a:p>
          <a:p>
            <a:pPr lvl="3"/>
            <a:r>
              <a:rPr lang="de-DE"/>
              <a:t>Vierte Ebene</a:t>
            </a:r>
          </a:p>
        </p:txBody>
      </p:sp>
      <p:sp>
        <p:nvSpPr>
          <p:cNvPr id="3" name="Titel 2">
            <a:extLst>
              <a:ext uri="{FF2B5EF4-FFF2-40B4-BE49-F238E27FC236}">
                <a16:creationId xmlns:a16="http://schemas.microsoft.com/office/drawing/2014/main" id="{B4719C8F-64D8-4576-A656-D0BF24458363}"/>
              </a:ext>
            </a:extLst>
          </p:cNvPr>
          <p:cNvSpPr>
            <a:spLocks noGrp="1"/>
          </p:cNvSpPr>
          <p:nvPr>
            <p:ph type="title" hasCustomPrompt="1"/>
          </p:nvPr>
        </p:nvSpPr>
        <p:spPr>
          <a:xfrm>
            <a:off x="540000" y="432000"/>
            <a:ext cx="10296000" cy="1080000"/>
          </a:xfrm>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19" name="Textplatzhalter 3">
            <a:extLst>
              <a:ext uri="{FF2B5EF4-FFF2-40B4-BE49-F238E27FC236}">
                <a16:creationId xmlns:a16="http://schemas.microsoft.com/office/drawing/2014/main" id="{C27F3C77-2FBE-42CD-AF30-46A4A75BA2D1}"/>
              </a:ext>
            </a:extLst>
          </p:cNvPr>
          <p:cNvSpPr>
            <a:spLocks noGrp="1"/>
          </p:cNvSpPr>
          <p:nvPr>
            <p:ph type="body" sz="quarter" idx="28" hasCustomPrompt="1"/>
          </p:nvPr>
        </p:nvSpPr>
        <p:spPr>
          <a:xfrm>
            <a:off x="4257346" y="3492131"/>
            <a:ext cx="3664800" cy="360000"/>
          </a:xfrm>
          <a:solidFill>
            <a:srgbClr val="2FAE7A"/>
          </a:solidFill>
        </p:spPr>
        <p:txBody>
          <a:bodyPr vert="horz" lIns="180000" tIns="0" rIns="180000" bIns="0" rtlCol="0" anchor="ctr">
            <a:noAutofit/>
          </a:bodyPr>
          <a:lstStyle>
            <a:lvl1pPr marL="0" indent="0">
              <a:buClr>
                <a:schemeClr val="bg1"/>
              </a:buClr>
              <a:buNone/>
              <a:defRPr lang="de-DE" sz="1600" dirty="0" smtClean="0">
                <a:solidFill>
                  <a:schemeClr val="bg1"/>
                </a:solidFill>
              </a:defRPr>
            </a:lvl1pPr>
            <a:lvl2pPr>
              <a:defRPr lang="de-DE" sz="1800" dirty="0" smtClean="0">
                <a:solidFill>
                  <a:schemeClr val="bg1"/>
                </a:solidFill>
              </a:defRPr>
            </a:lvl2pPr>
            <a:lvl3pPr>
              <a:defRPr lang="de-DE" sz="1800" dirty="0" smtClean="0">
                <a:solidFill>
                  <a:schemeClr val="bg1"/>
                </a:solidFill>
              </a:defRPr>
            </a:lvl3pPr>
            <a:lvl4pPr>
              <a:defRPr lang="de-DE" sz="1800" dirty="0" smtClean="0">
                <a:solidFill>
                  <a:schemeClr val="bg1"/>
                </a:solidFill>
              </a:defRPr>
            </a:lvl4pPr>
            <a:lvl5pPr>
              <a:defRPr lang="de-DE" sz="1800" dirty="0">
                <a:solidFill>
                  <a:schemeClr val="bg1"/>
                </a:solidFill>
              </a:defRPr>
            </a:lvl5pPr>
          </a:lstStyle>
          <a:p>
            <a:pPr marL="270000" lvl="0" indent="-270000"/>
            <a:r>
              <a:rPr lang="de-DE"/>
              <a:t>Textformat bearbeiten</a:t>
            </a:r>
          </a:p>
        </p:txBody>
      </p:sp>
      <p:sp>
        <p:nvSpPr>
          <p:cNvPr id="20" name="Textplatzhalter 3">
            <a:extLst>
              <a:ext uri="{FF2B5EF4-FFF2-40B4-BE49-F238E27FC236}">
                <a16:creationId xmlns:a16="http://schemas.microsoft.com/office/drawing/2014/main" id="{25F086D1-2AB7-4CDB-B05A-739B9E72D3A2}"/>
              </a:ext>
            </a:extLst>
          </p:cNvPr>
          <p:cNvSpPr>
            <a:spLocks noGrp="1"/>
          </p:cNvSpPr>
          <p:nvPr>
            <p:ph type="body" sz="quarter" idx="29" hasCustomPrompt="1"/>
          </p:nvPr>
        </p:nvSpPr>
        <p:spPr>
          <a:xfrm>
            <a:off x="7974693" y="3492131"/>
            <a:ext cx="3664800" cy="360000"/>
          </a:xfrm>
          <a:solidFill>
            <a:srgbClr val="2FAE7A"/>
          </a:solidFill>
        </p:spPr>
        <p:txBody>
          <a:bodyPr vert="horz" lIns="180000" tIns="0" rIns="180000" bIns="0" rtlCol="0" anchor="ctr">
            <a:noAutofit/>
          </a:bodyPr>
          <a:lstStyle>
            <a:lvl1pPr marL="0" indent="0">
              <a:buClr>
                <a:schemeClr val="bg1"/>
              </a:buClr>
              <a:buNone/>
              <a:defRPr lang="de-DE" sz="1600" dirty="0" smtClean="0">
                <a:solidFill>
                  <a:schemeClr val="bg1"/>
                </a:solidFill>
              </a:defRPr>
            </a:lvl1pPr>
            <a:lvl2pPr>
              <a:defRPr lang="de-DE" sz="1800" dirty="0" smtClean="0">
                <a:solidFill>
                  <a:schemeClr val="bg1"/>
                </a:solidFill>
              </a:defRPr>
            </a:lvl2pPr>
            <a:lvl3pPr>
              <a:defRPr lang="de-DE" sz="1800" dirty="0" smtClean="0">
                <a:solidFill>
                  <a:schemeClr val="bg1"/>
                </a:solidFill>
              </a:defRPr>
            </a:lvl3pPr>
            <a:lvl4pPr>
              <a:defRPr lang="de-DE" sz="1800" dirty="0" smtClean="0">
                <a:solidFill>
                  <a:schemeClr val="bg1"/>
                </a:solidFill>
              </a:defRPr>
            </a:lvl4pPr>
            <a:lvl5pPr>
              <a:defRPr lang="de-DE" sz="1800" dirty="0">
                <a:solidFill>
                  <a:schemeClr val="bg1"/>
                </a:solidFill>
              </a:defRPr>
            </a:lvl5pPr>
          </a:lstStyle>
          <a:p>
            <a:pPr marL="270000" lvl="0" indent="-270000"/>
            <a:r>
              <a:rPr lang="de-DE"/>
              <a:t>Textformat bearbeiten</a:t>
            </a:r>
          </a:p>
        </p:txBody>
      </p:sp>
      <p:sp>
        <p:nvSpPr>
          <p:cNvPr id="21" name="Textplatzhalter 3">
            <a:extLst>
              <a:ext uri="{FF2B5EF4-FFF2-40B4-BE49-F238E27FC236}">
                <a16:creationId xmlns:a16="http://schemas.microsoft.com/office/drawing/2014/main" id="{FD6303B1-E473-4E25-90C6-09F422B4B793}"/>
              </a:ext>
            </a:extLst>
          </p:cNvPr>
          <p:cNvSpPr>
            <a:spLocks noGrp="1"/>
          </p:cNvSpPr>
          <p:nvPr>
            <p:ph type="body" sz="quarter" idx="27" hasCustomPrompt="1"/>
          </p:nvPr>
        </p:nvSpPr>
        <p:spPr>
          <a:xfrm>
            <a:off x="540000" y="3492131"/>
            <a:ext cx="3664800" cy="360000"/>
          </a:xfrm>
          <a:solidFill>
            <a:srgbClr val="2FAE7A"/>
          </a:solidFill>
        </p:spPr>
        <p:txBody>
          <a:bodyPr vert="horz" lIns="180000" tIns="0" rIns="180000" bIns="0" rtlCol="0" anchor="ctr">
            <a:noAutofit/>
          </a:bodyPr>
          <a:lstStyle>
            <a:lvl1pPr marL="0" indent="0">
              <a:buClr>
                <a:schemeClr val="bg1"/>
              </a:buClr>
              <a:buNone/>
              <a:defRPr lang="de-DE" sz="1600" dirty="0" smtClean="0">
                <a:solidFill>
                  <a:schemeClr val="bg1"/>
                </a:solidFill>
              </a:defRPr>
            </a:lvl1pPr>
            <a:lvl2pPr>
              <a:defRPr lang="de-DE" sz="1800" dirty="0" smtClean="0">
                <a:solidFill>
                  <a:schemeClr val="bg1"/>
                </a:solidFill>
              </a:defRPr>
            </a:lvl2pPr>
            <a:lvl3pPr>
              <a:defRPr lang="de-DE" sz="1800" dirty="0" smtClean="0">
                <a:solidFill>
                  <a:schemeClr val="bg1"/>
                </a:solidFill>
              </a:defRPr>
            </a:lvl3pPr>
            <a:lvl4pPr>
              <a:defRPr lang="de-DE" sz="1800" dirty="0" smtClean="0">
                <a:solidFill>
                  <a:schemeClr val="bg1"/>
                </a:solidFill>
              </a:defRPr>
            </a:lvl4pPr>
            <a:lvl5pPr>
              <a:defRPr lang="de-DE" sz="1800" dirty="0">
                <a:solidFill>
                  <a:schemeClr val="bg1"/>
                </a:solidFill>
              </a:defRPr>
            </a:lvl5pPr>
          </a:lstStyle>
          <a:p>
            <a:pPr marL="270000" lvl="0" indent="-270000"/>
            <a:r>
              <a:rPr lang="de-DE"/>
              <a:t>Textformat bearbeiten</a:t>
            </a:r>
          </a:p>
        </p:txBody>
      </p:sp>
      <p:sp>
        <p:nvSpPr>
          <p:cNvPr id="2" name="Datumsplatzhalter 1"/>
          <p:cNvSpPr>
            <a:spLocks noGrp="1"/>
          </p:cNvSpPr>
          <p:nvPr>
            <p:ph type="dt" sz="half" idx="30"/>
          </p:nvPr>
        </p:nvSpPr>
        <p:spPr/>
        <p:txBody>
          <a:bodyPr/>
          <a:lstStyle/>
          <a:p>
            <a:fld id="{4680A733-F83D-4D19-AF27-7B0B870C8599}" type="datetime1">
              <a:rPr lang="de-DE" noProof="0" smtClean="0"/>
              <a:t>15.01.2025</a:t>
            </a:fld>
            <a:endParaRPr lang="de-DE" noProof="0"/>
          </a:p>
        </p:txBody>
      </p:sp>
      <p:sp>
        <p:nvSpPr>
          <p:cNvPr id="4" name="Fußzeilenplatzhalter 3"/>
          <p:cNvSpPr>
            <a:spLocks noGrp="1"/>
          </p:cNvSpPr>
          <p:nvPr>
            <p:ph type="ftr" sz="quarter" idx="31"/>
          </p:nvPr>
        </p:nvSpPr>
        <p:spPr/>
        <p:txBody>
          <a:bodyPr/>
          <a:lstStyle/>
          <a:p>
            <a:r>
              <a:rPr lang="de-DE" noProof="0"/>
              <a:t>FZI Forschungszentrum Informatik</a:t>
            </a:r>
          </a:p>
        </p:txBody>
      </p:sp>
      <p:sp>
        <p:nvSpPr>
          <p:cNvPr id="8" name="Foliennummernplatzhalter 7"/>
          <p:cNvSpPr>
            <a:spLocks noGrp="1"/>
          </p:cNvSpPr>
          <p:nvPr>
            <p:ph type="sldNum" sz="quarter" idx="32"/>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41437775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x Bild und Text">
    <p:spTree>
      <p:nvGrpSpPr>
        <p:cNvPr id="1" name=""/>
        <p:cNvGrpSpPr/>
        <p:nvPr/>
      </p:nvGrpSpPr>
      <p:grpSpPr>
        <a:xfrm>
          <a:off x="0" y="0"/>
          <a:ext cx="0" cy="0"/>
          <a:chOff x="0" y="0"/>
          <a:chExt cx="0" cy="0"/>
        </a:xfrm>
      </p:grpSpPr>
      <p:sp>
        <p:nvSpPr>
          <p:cNvPr id="19" name="Text 1"/>
          <p:cNvSpPr>
            <a:spLocks noGrp="1"/>
          </p:cNvSpPr>
          <p:nvPr>
            <p:ph type="body" sz="quarter" idx="41"/>
          </p:nvPr>
        </p:nvSpPr>
        <p:spPr bwMode="gray">
          <a:xfrm>
            <a:off x="540000" y="2689200"/>
            <a:ext cx="2455200" cy="1944000"/>
          </a:xfrm>
        </p:spPr>
        <p:txBody>
          <a:bodyPr rIns="0" anchor="ctr"/>
          <a:lstStyle>
            <a:lvl1pPr marL="0" indent="0" algn="r">
              <a:buFontTx/>
              <a:buNone/>
              <a:defRPr/>
            </a:lvl1pPr>
          </a:lstStyle>
          <a:p>
            <a:pPr lvl="0"/>
            <a:r>
              <a:rPr lang="de-DE" noProof="0"/>
              <a:t>Formatvorlagen des Textmasters bearbeiten</a:t>
            </a:r>
          </a:p>
        </p:txBody>
      </p:sp>
      <p:cxnSp>
        <p:nvCxnSpPr>
          <p:cNvPr id="24" name="Linie"/>
          <p:cNvCxnSpPr/>
          <p:nvPr userDrawn="1"/>
        </p:nvCxnSpPr>
        <p:spPr bwMode="gray">
          <a:xfrm>
            <a:off x="3179206" y="3661200"/>
            <a:ext cx="396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11" name="Rechteck 1"/>
          <p:cNvSpPr>
            <a:spLocks noChangeAspect="1"/>
          </p:cNvSpPr>
          <p:nvPr userDrawn="1"/>
        </p:nvSpPr>
        <p:spPr bwMode="gray">
          <a:xfrm>
            <a:off x="3575206" y="2581200"/>
            <a:ext cx="2160000" cy="216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a:latin typeface="Source Sans Pro" panose="020B0503030403020204" pitchFamily="34" charset="0"/>
            </a:endParaRPr>
          </a:p>
        </p:txBody>
      </p:sp>
      <p:sp>
        <p:nvSpPr>
          <p:cNvPr id="37" name="Bild 1"/>
          <p:cNvSpPr>
            <a:spLocks noGrp="1" noChangeAspect="1"/>
          </p:cNvSpPr>
          <p:nvPr>
            <p:ph type="pic" sz="quarter" idx="34"/>
          </p:nvPr>
        </p:nvSpPr>
        <p:spPr bwMode="gray">
          <a:xfrm>
            <a:off x="3683206" y="2689200"/>
            <a:ext cx="1944000" cy="1944000"/>
          </a:xfrm>
          <a:prstGeom prst="rect">
            <a:avLst/>
          </a:prstGeom>
          <a:solidFill>
            <a:schemeClr val="bg1">
              <a:lumMod val="85000"/>
            </a:schemeClr>
          </a:solidFill>
        </p:spPr>
        <p:txBody>
          <a:bodyPr lIns="144000" tIns="144000" rIns="144000" bIns="144000" anchor="ctr"/>
          <a:lstStyle>
            <a:lvl1pPr marL="0" indent="0" algn="ctr">
              <a:buNone/>
              <a:defRPr>
                <a:solidFill>
                  <a:schemeClr val="tx2">
                    <a:lumMod val="75000"/>
                  </a:schemeClr>
                </a:solidFill>
              </a:defRPr>
            </a:lvl1pPr>
          </a:lstStyle>
          <a:p>
            <a:r>
              <a:rPr lang="de-DE" noProof="0"/>
              <a:t>Bild durch Klicken auf Symbol hinzufügen</a:t>
            </a:r>
          </a:p>
        </p:txBody>
      </p:sp>
      <p:sp>
        <p:nvSpPr>
          <p:cNvPr id="31" name="Rechteck 2"/>
          <p:cNvSpPr>
            <a:spLocks noChangeAspect="1"/>
          </p:cNvSpPr>
          <p:nvPr userDrawn="1"/>
        </p:nvSpPr>
        <p:spPr bwMode="gray">
          <a:xfrm>
            <a:off x="6455206" y="2581200"/>
            <a:ext cx="2160000" cy="216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a:latin typeface="Source Sans Pro" panose="020B0503030403020204" pitchFamily="34" charset="0"/>
            </a:endParaRPr>
          </a:p>
        </p:txBody>
      </p:sp>
      <p:sp>
        <p:nvSpPr>
          <p:cNvPr id="17" name="Bildplatzhalter 16">
            <a:extLst>
              <a:ext uri="{FF2B5EF4-FFF2-40B4-BE49-F238E27FC236}">
                <a16:creationId xmlns:a16="http://schemas.microsoft.com/office/drawing/2014/main" id="{93E64EC1-D877-415C-A62F-69872135CEDB}"/>
              </a:ext>
            </a:extLst>
          </p:cNvPr>
          <p:cNvSpPr>
            <a:spLocks noGrp="1" noChangeAspect="1"/>
          </p:cNvSpPr>
          <p:nvPr>
            <p:ph type="pic" sz="quarter" idx="33"/>
          </p:nvPr>
        </p:nvSpPr>
        <p:spPr bwMode="gray">
          <a:xfrm>
            <a:off x="6563206" y="2689200"/>
            <a:ext cx="1944000" cy="1944000"/>
          </a:xfrm>
          <a:prstGeom prst="rect">
            <a:avLst/>
          </a:prstGeom>
          <a:solidFill>
            <a:schemeClr val="bg1">
              <a:lumMod val="85000"/>
            </a:schemeClr>
          </a:solidFill>
        </p:spPr>
        <p:txBody>
          <a:bodyPr wrap="square" lIns="144000" tIns="144000" rIns="144000" bIns="144000" anchor="ctr">
            <a:noAutofit/>
          </a:bodyPr>
          <a:lstStyle>
            <a:lvl1pPr marL="0" indent="0" algn="ctr">
              <a:buNone/>
              <a:defRPr/>
            </a:lvl1pPr>
          </a:lstStyle>
          <a:p>
            <a:r>
              <a:rPr lang="de-DE" noProof="0"/>
              <a:t>Bild durch Klicken auf Symbol hinzufügen</a:t>
            </a:r>
          </a:p>
        </p:txBody>
      </p:sp>
      <p:cxnSp>
        <p:nvCxnSpPr>
          <p:cNvPr id="25" name="Linie"/>
          <p:cNvCxnSpPr/>
          <p:nvPr userDrawn="1"/>
        </p:nvCxnSpPr>
        <p:spPr bwMode="gray">
          <a:xfrm>
            <a:off x="8615206" y="3661200"/>
            <a:ext cx="396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23" name="Text 2"/>
          <p:cNvSpPr>
            <a:spLocks noGrp="1"/>
          </p:cNvSpPr>
          <p:nvPr>
            <p:ph type="body" sz="quarter" idx="42"/>
          </p:nvPr>
        </p:nvSpPr>
        <p:spPr bwMode="gray">
          <a:xfrm>
            <a:off x="9194400" y="2689200"/>
            <a:ext cx="2455200" cy="1944000"/>
          </a:xfrm>
        </p:spPr>
        <p:txBody>
          <a:bodyPr lIns="0" rIns="0" anchor="ctr"/>
          <a:lstStyle>
            <a:lvl1pPr marL="0" indent="0" algn="l">
              <a:buFontTx/>
              <a:buNone/>
              <a:defRPr/>
            </a:lvl1pPr>
          </a:lstStyle>
          <a:p>
            <a:pPr lvl="0"/>
            <a:r>
              <a:rPr lang="de-DE" noProof="0"/>
              <a:t>Formatvorlagen des Textmasters bearbeiten</a:t>
            </a:r>
          </a:p>
        </p:txBody>
      </p:sp>
      <p:sp>
        <p:nvSpPr>
          <p:cNvPr id="3" name="Titel 2">
            <a:extLst>
              <a:ext uri="{FF2B5EF4-FFF2-40B4-BE49-F238E27FC236}">
                <a16:creationId xmlns:a16="http://schemas.microsoft.com/office/drawing/2014/main" id="{796BF9AE-28A4-44FF-AEEC-E1568544F469}"/>
              </a:ext>
            </a:extLst>
          </p:cNvPr>
          <p:cNvSpPr>
            <a:spLocks noGrp="1"/>
          </p:cNvSpPr>
          <p:nvPr>
            <p:ph type="title" hasCustomPrompt="1"/>
          </p:nvPr>
        </p:nvSpPr>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43"/>
          </p:nvPr>
        </p:nvSpPr>
        <p:spPr/>
        <p:txBody>
          <a:bodyPr/>
          <a:lstStyle/>
          <a:p>
            <a:fld id="{4680A733-F83D-4D19-AF27-7B0B870C8599}" type="datetime1">
              <a:rPr lang="de-DE" noProof="0" smtClean="0"/>
              <a:t>15.01.2025</a:t>
            </a:fld>
            <a:endParaRPr lang="de-DE" noProof="0"/>
          </a:p>
        </p:txBody>
      </p:sp>
      <p:sp>
        <p:nvSpPr>
          <p:cNvPr id="4" name="Fußzeilenplatzhalter 3"/>
          <p:cNvSpPr>
            <a:spLocks noGrp="1"/>
          </p:cNvSpPr>
          <p:nvPr>
            <p:ph type="ftr" sz="quarter" idx="44"/>
          </p:nvPr>
        </p:nvSpPr>
        <p:spPr/>
        <p:txBody>
          <a:bodyPr/>
          <a:lstStyle/>
          <a:p>
            <a:r>
              <a:rPr lang="de-DE" noProof="0"/>
              <a:t>FZI Forschungszentrum Informatik</a:t>
            </a:r>
          </a:p>
        </p:txBody>
      </p:sp>
      <p:sp>
        <p:nvSpPr>
          <p:cNvPr id="8" name="Foliennummernplatzhalter 7"/>
          <p:cNvSpPr>
            <a:spLocks noGrp="1"/>
          </p:cNvSpPr>
          <p:nvPr>
            <p:ph type="sldNum" sz="quarter" idx="45"/>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2551304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x Bild und Text">
    <p:spTree>
      <p:nvGrpSpPr>
        <p:cNvPr id="1" name=""/>
        <p:cNvGrpSpPr/>
        <p:nvPr/>
      </p:nvGrpSpPr>
      <p:grpSpPr>
        <a:xfrm>
          <a:off x="0" y="0"/>
          <a:ext cx="0" cy="0"/>
          <a:chOff x="0" y="0"/>
          <a:chExt cx="0" cy="0"/>
        </a:xfrm>
      </p:grpSpPr>
      <p:sp>
        <p:nvSpPr>
          <p:cNvPr id="48" name="Bildplatzhalter 47">
            <a:extLst>
              <a:ext uri="{FF2B5EF4-FFF2-40B4-BE49-F238E27FC236}">
                <a16:creationId xmlns:a16="http://schemas.microsoft.com/office/drawing/2014/main" id="{012DBFA8-AC09-4D91-A009-089CDA19BF23}"/>
              </a:ext>
            </a:extLst>
          </p:cNvPr>
          <p:cNvSpPr>
            <a:spLocks noGrp="1" noChangeAspect="1"/>
          </p:cNvSpPr>
          <p:nvPr>
            <p:ph type="pic" sz="quarter" idx="21"/>
          </p:nvPr>
        </p:nvSpPr>
        <p:spPr bwMode="gray">
          <a:xfrm>
            <a:off x="6419207" y="1624539"/>
            <a:ext cx="1717200" cy="1717200"/>
          </a:xfrm>
          <a:prstGeom prst="rect">
            <a:avLst/>
          </a:prstGeom>
          <a:solidFill>
            <a:schemeClr val="bg1">
              <a:lumMod val="85000"/>
            </a:schemeClr>
          </a:solidFill>
        </p:spPr>
        <p:txBody>
          <a:bodyPr vert="horz" wrap="square"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cxnSp>
        <p:nvCxnSpPr>
          <p:cNvPr id="10" name="Linie">
            <a:extLst>
              <a:ext uri="{FF2B5EF4-FFF2-40B4-BE49-F238E27FC236}">
                <a16:creationId xmlns:a16="http://schemas.microsoft.com/office/drawing/2014/main" id="{90E54B75-CEA3-452C-A57D-CD615CE79F96}"/>
              </a:ext>
            </a:extLst>
          </p:cNvPr>
          <p:cNvCxnSpPr/>
          <p:nvPr userDrawn="1"/>
        </p:nvCxnSpPr>
        <p:spPr bwMode="gray">
          <a:xfrm>
            <a:off x="3478007" y="2483139"/>
            <a:ext cx="468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11" name="Rechteck 10">
            <a:extLst>
              <a:ext uri="{FF2B5EF4-FFF2-40B4-BE49-F238E27FC236}">
                <a16:creationId xmlns:a16="http://schemas.microsoft.com/office/drawing/2014/main" id="{9F65A952-5F37-4087-88E6-9B3FBB995DA1}"/>
              </a:ext>
            </a:extLst>
          </p:cNvPr>
          <p:cNvSpPr>
            <a:spLocks noChangeAspect="1"/>
          </p:cNvSpPr>
          <p:nvPr userDrawn="1"/>
        </p:nvSpPr>
        <p:spPr bwMode="gray">
          <a:xfrm>
            <a:off x="3946007" y="1516539"/>
            <a:ext cx="1933200" cy="19332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US" noProof="0">
              <a:latin typeface="Source Sans Pro" panose="020B0503030403020204" pitchFamily="34" charset="0"/>
            </a:endParaRPr>
          </a:p>
        </p:txBody>
      </p:sp>
      <p:cxnSp>
        <p:nvCxnSpPr>
          <p:cNvPr id="14" name="Linie">
            <a:extLst>
              <a:ext uri="{FF2B5EF4-FFF2-40B4-BE49-F238E27FC236}">
                <a16:creationId xmlns:a16="http://schemas.microsoft.com/office/drawing/2014/main" id="{B76A99E5-DFC3-4758-B1E9-D586CBC48FC6}"/>
              </a:ext>
            </a:extLst>
          </p:cNvPr>
          <p:cNvCxnSpPr/>
          <p:nvPr userDrawn="1"/>
        </p:nvCxnSpPr>
        <p:spPr bwMode="gray">
          <a:xfrm>
            <a:off x="8244407" y="2483139"/>
            <a:ext cx="468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36" name="Rechteck: eine Ecke abgeschnitten 35">
            <a:extLst>
              <a:ext uri="{FF2B5EF4-FFF2-40B4-BE49-F238E27FC236}">
                <a16:creationId xmlns:a16="http://schemas.microsoft.com/office/drawing/2014/main" id="{5A67022F-FFB7-4740-9213-8CBF33C848CD}"/>
              </a:ext>
            </a:extLst>
          </p:cNvPr>
          <p:cNvSpPr>
            <a:spLocks noChangeAspect="1"/>
          </p:cNvSpPr>
          <p:nvPr userDrawn="1"/>
        </p:nvSpPr>
        <p:spPr bwMode="gray">
          <a:xfrm>
            <a:off x="6311207" y="1516539"/>
            <a:ext cx="1933200" cy="19332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US" noProof="0">
              <a:latin typeface="Source Sans Pro" panose="020B0503030403020204" pitchFamily="34" charset="0"/>
            </a:endParaRPr>
          </a:p>
        </p:txBody>
      </p:sp>
      <p:cxnSp>
        <p:nvCxnSpPr>
          <p:cNvPr id="18" name="Linie">
            <a:extLst>
              <a:ext uri="{FF2B5EF4-FFF2-40B4-BE49-F238E27FC236}">
                <a16:creationId xmlns:a16="http://schemas.microsoft.com/office/drawing/2014/main" id="{56A2E854-E222-4120-B532-CD945619F7EE}"/>
              </a:ext>
            </a:extLst>
          </p:cNvPr>
          <p:cNvCxnSpPr/>
          <p:nvPr userDrawn="1"/>
        </p:nvCxnSpPr>
        <p:spPr bwMode="gray">
          <a:xfrm>
            <a:off x="3478007" y="4837431"/>
            <a:ext cx="468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19" name="Rechteck 18">
            <a:extLst>
              <a:ext uri="{FF2B5EF4-FFF2-40B4-BE49-F238E27FC236}">
                <a16:creationId xmlns:a16="http://schemas.microsoft.com/office/drawing/2014/main" id="{5AFE8262-7155-4AA9-8D69-0D9866214883}"/>
              </a:ext>
            </a:extLst>
          </p:cNvPr>
          <p:cNvSpPr>
            <a:spLocks noChangeAspect="1"/>
          </p:cNvSpPr>
          <p:nvPr userDrawn="1"/>
        </p:nvSpPr>
        <p:spPr bwMode="gray">
          <a:xfrm>
            <a:off x="3946007" y="3870831"/>
            <a:ext cx="1933200" cy="19332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US" noProof="0">
              <a:latin typeface="Source Sans Pro" panose="020B0503030403020204" pitchFamily="34" charset="0"/>
            </a:endParaRPr>
          </a:p>
        </p:txBody>
      </p:sp>
      <p:cxnSp>
        <p:nvCxnSpPr>
          <p:cNvPr id="22" name="Linie">
            <a:extLst>
              <a:ext uri="{FF2B5EF4-FFF2-40B4-BE49-F238E27FC236}">
                <a16:creationId xmlns:a16="http://schemas.microsoft.com/office/drawing/2014/main" id="{EB920573-7642-46F9-BF58-692BB98DF005}"/>
              </a:ext>
            </a:extLst>
          </p:cNvPr>
          <p:cNvCxnSpPr/>
          <p:nvPr userDrawn="1"/>
        </p:nvCxnSpPr>
        <p:spPr bwMode="gray">
          <a:xfrm>
            <a:off x="8244407" y="4837431"/>
            <a:ext cx="468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23" name="Rechteck 22">
            <a:extLst>
              <a:ext uri="{FF2B5EF4-FFF2-40B4-BE49-F238E27FC236}">
                <a16:creationId xmlns:a16="http://schemas.microsoft.com/office/drawing/2014/main" id="{0E4E3C71-0CE1-4494-9303-B3B69EE3B904}"/>
              </a:ext>
            </a:extLst>
          </p:cNvPr>
          <p:cNvSpPr>
            <a:spLocks noChangeAspect="1"/>
          </p:cNvSpPr>
          <p:nvPr userDrawn="1"/>
        </p:nvSpPr>
        <p:spPr bwMode="gray">
          <a:xfrm>
            <a:off x="6311207" y="3870831"/>
            <a:ext cx="1933200" cy="19332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US" noProof="0">
              <a:latin typeface="Source Sans Pro" panose="020B0503030403020204" pitchFamily="34" charset="0"/>
            </a:endParaRPr>
          </a:p>
        </p:txBody>
      </p:sp>
      <p:sp>
        <p:nvSpPr>
          <p:cNvPr id="4" name="Textplatzhalter 3">
            <a:extLst>
              <a:ext uri="{FF2B5EF4-FFF2-40B4-BE49-F238E27FC236}">
                <a16:creationId xmlns:a16="http://schemas.microsoft.com/office/drawing/2014/main" id="{1E2801DF-E796-4473-A2FF-73A153A17A69}"/>
              </a:ext>
            </a:extLst>
          </p:cNvPr>
          <p:cNvSpPr>
            <a:spLocks noGrp="1"/>
          </p:cNvSpPr>
          <p:nvPr>
            <p:ph type="body" sz="quarter" idx="14" hasCustomPrompt="1"/>
          </p:nvPr>
        </p:nvSpPr>
        <p:spPr>
          <a:xfrm>
            <a:off x="540406" y="1516539"/>
            <a:ext cx="2779202" cy="1933200"/>
          </a:xfrm>
        </p:spPr>
        <p:txBody>
          <a:bodyPr vert="horz" lIns="0" tIns="0" rIns="0" bIns="0" rtlCol="0" anchor="ctr">
            <a:noAutofit/>
          </a:bodyPr>
          <a:lstStyle>
            <a:lvl1pPr marL="0" indent="0" algn="r">
              <a:buNone/>
              <a:defRPr lang="de-DE" smtClean="0">
                <a:solidFill>
                  <a:schemeClr val="tx2">
                    <a:lumMod val="75000"/>
                  </a:schemeClr>
                </a:solidFill>
              </a:defRPr>
            </a:lvl1pPr>
            <a:lvl2pPr>
              <a:defRPr lang="de-DE" smtClean="0">
                <a:solidFill>
                  <a:schemeClr val="tx1"/>
                </a:solidFill>
              </a:defRPr>
            </a:lvl2pPr>
            <a:lvl3pPr>
              <a:defRPr lang="de-DE" smtClean="0">
                <a:solidFill>
                  <a:schemeClr val="tx1"/>
                </a:solidFill>
              </a:defRPr>
            </a:lvl3pPr>
            <a:lvl4pPr>
              <a:defRPr lang="de-DE" smtClean="0">
                <a:solidFill>
                  <a:schemeClr val="tx1"/>
                </a:solidFill>
              </a:defRPr>
            </a:lvl4pPr>
            <a:lvl5pPr>
              <a:defRPr lang="en-US">
                <a:solidFill>
                  <a:schemeClr val="tx1"/>
                </a:solidFill>
              </a:defRPr>
            </a:lvl5pPr>
          </a:lstStyle>
          <a:p>
            <a:pPr lvl="0"/>
            <a:r>
              <a:rPr lang="de-DE"/>
              <a:t>Textmasterformat </a:t>
            </a:r>
            <a:br>
              <a:rPr lang="de-DE"/>
            </a:br>
            <a:r>
              <a:rPr lang="de-DE"/>
              <a:t>bearbeiten</a:t>
            </a:r>
          </a:p>
        </p:txBody>
      </p:sp>
      <p:sp>
        <p:nvSpPr>
          <p:cNvPr id="38" name="Bildplatzhalter 37">
            <a:extLst>
              <a:ext uri="{FF2B5EF4-FFF2-40B4-BE49-F238E27FC236}">
                <a16:creationId xmlns:a16="http://schemas.microsoft.com/office/drawing/2014/main" id="{E2B79282-7066-4128-B727-4FA382CB2657}"/>
              </a:ext>
            </a:extLst>
          </p:cNvPr>
          <p:cNvSpPr>
            <a:spLocks noGrp="1" noChangeAspect="1"/>
          </p:cNvSpPr>
          <p:nvPr>
            <p:ph type="pic" sz="quarter" idx="15"/>
          </p:nvPr>
        </p:nvSpPr>
        <p:spPr>
          <a:xfrm>
            <a:off x="4054007" y="1624539"/>
            <a:ext cx="1717200" cy="1717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39" name="Bildplatzhalter 37">
            <a:extLst>
              <a:ext uri="{FF2B5EF4-FFF2-40B4-BE49-F238E27FC236}">
                <a16:creationId xmlns:a16="http://schemas.microsoft.com/office/drawing/2014/main" id="{2394A586-E9A4-4440-A304-E171A92ED46C}"/>
              </a:ext>
            </a:extLst>
          </p:cNvPr>
          <p:cNvSpPr>
            <a:spLocks noGrp="1" noChangeAspect="1"/>
          </p:cNvSpPr>
          <p:nvPr>
            <p:ph type="pic" sz="quarter" idx="16"/>
          </p:nvPr>
        </p:nvSpPr>
        <p:spPr>
          <a:xfrm>
            <a:off x="6419207" y="3978831"/>
            <a:ext cx="1717200" cy="1717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40" name="Bildplatzhalter 37">
            <a:extLst>
              <a:ext uri="{FF2B5EF4-FFF2-40B4-BE49-F238E27FC236}">
                <a16:creationId xmlns:a16="http://schemas.microsoft.com/office/drawing/2014/main" id="{BACE67F3-129E-4A37-AA2B-2B74E473302F}"/>
              </a:ext>
            </a:extLst>
          </p:cNvPr>
          <p:cNvSpPr>
            <a:spLocks noGrp="1" noChangeAspect="1"/>
          </p:cNvSpPr>
          <p:nvPr>
            <p:ph type="pic" sz="quarter" idx="17"/>
          </p:nvPr>
        </p:nvSpPr>
        <p:spPr>
          <a:xfrm>
            <a:off x="4054007" y="3978831"/>
            <a:ext cx="1717200" cy="17172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41" name="Textplatzhalter 3">
            <a:extLst>
              <a:ext uri="{FF2B5EF4-FFF2-40B4-BE49-F238E27FC236}">
                <a16:creationId xmlns:a16="http://schemas.microsoft.com/office/drawing/2014/main" id="{E925ED03-1B06-4B14-8153-45479D16AFF0}"/>
              </a:ext>
            </a:extLst>
          </p:cNvPr>
          <p:cNvSpPr>
            <a:spLocks noGrp="1"/>
          </p:cNvSpPr>
          <p:nvPr>
            <p:ph type="body" sz="quarter" idx="18" hasCustomPrompt="1"/>
          </p:nvPr>
        </p:nvSpPr>
        <p:spPr>
          <a:xfrm>
            <a:off x="540406" y="3870831"/>
            <a:ext cx="2779202" cy="1933200"/>
          </a:xfrm>
        </p:spPr>
        <p:txBody>
          <a:bodyPr vert="horz" lIns="0" tIns="0" rIns="0" bIns="0" rtlCol="0" anchor="ctr">
            <a:noAutofit/>
          </a:bodyPr>
          <a:lstStyle>
            <a:lvl1pPr marL="0" indent="0" algn="r">
              <a:buNone/>
              <a:defRPr lang="de-DE" smtClean="0">
                <a:solidFill>
                  <a:schemeClr val="tx2">
                    <a:lumMod val="75000"/>
                  </a:schemeClr>
                </a:solidFill>
              </a:defRPr>
            </a:lvl1pPr>
            <a:lvl2pPr>
              <a:defRPr lang="de-DE" smtClean="0">
                <a:solidFill>
                  <a:schemeClr val="tx1"/>
                </a:solidFill>
              </a:defRPr>
            </a:lvl2pPr>
            <a:lvl3pPr>
              <a:defRPr lang="de-DE" smtClean="0">
                <a:solidFill>
                  <a:schemeClr val="tx1"/>
                </a:solidFill>
              </a:defRPr>
            </a:lvl3pPr>
            <a:lvl4pPr>
              <a:defRPr lang="de-DE" smtClean="0">
                <a:solidFill>
                  <a:schemeClr val="tx1"/>
                </a:solidFill>
              </a:defRPr>
            </a:lvl4pPr>
            <a:lvl5pPr>
              <a:defRPr lang="en-US">
                <a:solidFill>
                  <a:schemeClr val="tx1"/>
                </a:solidFill>
              </a:defRPr>
            </a:lvl5pPr>
          </a:lstStyle>
          <a:p>
            <a:pPr lvl="0"/>
            <a:r>
              <a:rPr lang="de-DE"/>
              <a:t>Textmasterformat </a:t>
            </a:r>
            <a:br>
              <a:rPr lang="de-DE"/>
            </a:br>
            <a:r>
              <a:rPr lang="de-DE"/>
              <a:t>bearbeiten</a:t>
            </a:r>
          </a:p>
        </p:txBody>
      </p:sp>
      <p:sp>
        <p:nvSpPr>
          <p:cNvPr id="42" name="Textplatzhalter 3">
            <a:extLst>
              <a:ext uri="{FF2B5EF4-FFF2-40B4-BE49-F238E27FC236}">
                <a16:creationId xmlns:a16="http://schemas.microsoft.com/office/drawing/2014/main" id="{2397A1A9-5653-4B59-BD51-F6C97A4AA702}"/>
              </a:ext>
            </a:extLst>
          </p:cNvPr>
          <p:cNvSpPr>
            <a:spLocks noGrp="1"/>
          </p:cNvSpPr>
          <p:nvPr>
            <p:ph type="body" sz="quarter" idx="19" hasCustomPrompt="1"/>
          </p:nvPr>
        </p:nvSpPr>
        <p:spPr>
          <a:xfrm>
            <a:off x="8870877" y="1516539"/>
            <a:ext cx="2779202" cy="1933200"/>
          </a:xfrm>
        </p:spPr>
        <p:txBody>
          <a:bodyPr vert="horz" lIns="0" tIns="0" rIns="0" bIns="0" rtlCol="0" anchor="ctr">
            <a:noAutofit/>
          </a:bodyPr>
          <a:lstStyle>
            <a:lvl1pPr marL="0" indent="0" algn="l">
              <a:buNone/>
              <a:defRPr lang="de-DE" smtClean="0">
                <a:solidFill>
                  <a:schemeClr val="tx2">
                    <a:lumMod val="75000"/>
                  </a:schemeClr>
                </a:solidFill>
              </a:defRPr>
            </a:lvl1pPr>
            <a:lvl2pPr>
              <a:defRPr lang="de-DE" smtClean="0">
                <a:solidFill>
                  <a:schemeClr val="tx1"/>
                </a:solidFill>
              </a:defRPr>
            </a:lvl2pPr>
            <a:lvl3pPr>
              <a:defRPr lang="de-DE" smtClean="0">
                <a:solidFill>
                  <a:schemeClr val="tx1"/>
                </a:solidFill>
              </a:defRPr>
            </a:lvl3pPr>
            <a:lvl4pPr>
              <a:defRPr lang="de-DE" smtClean="0">
                <a:solidFill>
                  <a:schemeClr val="tx1"/>
                </a:solidFill>
              </a:defRPr>
            </a:lvl4pPr>
            <a:lvl5pPr>
              <a:defRPr lang="en-US">
                <a:solidFill>
                  <a:schemeClr val="tx1"/>
                </a:solidFill>
              </a:defRPr>
            </a:lvl5pPr>
          </a:lstStyle>
          <a:p>
            <a:pPr lvl="0"/>
            <a:r>
              <a:rPr lang="de-DE"/>
              <a:t>Textmasterformat </a:t>
            </a:r>
            <a:br>
              <a:rPr lang="de-DE"/>
            </a:br>
            <a:r>
              <a:rPr lang="de-DE"/>
              <a:t>bearbeiten</a:t>
            </a:r>
          </a:p>
        </p:txBody>
      </p:sp>
      <p:sp>
        <p:nvSpPr>
          <p:cNvPr id="43" name="Textplatzhalter 3">
            <a:extLst>
              <a:ext uri="{FF2B5EF4-FFF2-40B4-BE49-F238E27FC236}">
                <a16:creationId xmlns:a16="http://schemas.microsoft.com/office/drawing/2014/main" id="{01BA5272-6B99-4650-BC3B-BABA93DBEAE5}"/>
              </a:ext>
            </a:extLst>
          </p:cNvPr>
          <p:cNvSpPr>
            <a:spLocks noGrp="1"/>
          </p:cNvSpPr>
          <p:nvPr>
            <p:ph type="body" sz="quarter" idx="20" hasCustomPrompt="1"/>
          </p:nvPr>
        </p:nvSpPr>
        <p:spPr>
          <a:xfrm>
            <a:off x="8870877" y="3870831"/>
            <a:ext cx="2779202" cy="1933200"/>
          </a:xfrm>
        </p:spPr>
        <p:txBody>
          <a:bodyPr vert="horz" lIns="0" tIns="0" rIns="0" bIns="0" rtlCol="0" anchor="ctr">
            <a:noAutofit/>
          </a:bodyPr>
          <a:lstStyle>
            <a:lvl1pPr marL="0" indent="0" algn="l">
              <a:buNone/>
              <a:defRPr lang="de-DE" smtClean="0">
                <a:solidFill>
                  <a:schemeClr val="tx2">
                    <a:lumMod val="75000"/>
                  </a:schemeClr>
                </a:solidFill>
              </a:defRPr>
            </a:lvl1pPr>
            <a:lvl2pPr>
              <a:defRPr lang="de-DE" smtClean="0">
                <a:solidFill>
                  <a:schemeClr val="tx1"/>
                </a:solidFill>
              </a:defRPr>
            </a:lvl2pPr>
            <a:lvl3pPr>
              <a:defRPr lang="de-DE" smtClean="0">
                <a:solidFill>
                  <a:schemeClr val="tx1"/>
                </a:solidFill>
              </a:defRPr>
            </a:lvl3pPr>
            <a:lvl4pPr>
              <a:defRPr lang="de-DE" smtClean="0">
                <a:solidFill>
                  <a:schemeClr val="tx1"/>
                </a:solidFill>
              </a:defRPr>
            </a:lvl4pPr>
            <a:lvl5pPr>
              <a:defRPr lang="en-US">
                <a:solidFill>
                  <a:schemeClr val="tx1"/>
                </a:solidFill>
              </a:defRPr>
            </a:lvl5pPr>
          </a:lstStyle>
          <a:p>
            <a:pPr lvl="0"/>
            <a:r>
              <a:rPr lang="de-DE"/>
              <a:t>Textmasterformat </a:t>
            </a:r>
            <a:br>
              <a:rPr lang="de-DE"/>
            </a:br>
            <a:r>
              <a:rPr lang="de-DE"/>
              <a:t>bearbeiten</a:t>
            </a:r>
          </a:p>
        </p:txBody>
      </p:sp>
      <p:sp>
        <p:nvSpPr>
          <p:cNvPr id="3" name="Titel 2">
            <a:extLst>
              <a:ext uri="{FF2B5EF4-FFF2-40B4-BE49-F238E27FC236}">
                <a16:creationId xmlns:a16="http://schemas.microsoft.com/office/drawing/2014/main" id="{E2F55296-9B40-427B-9814-EC2DF02F7D87}"/>
              </a:ext>
            </a:extLst>
          </p:cNvPr>
          <p:cNvSpPr>
            <a:spLocks noGrp="1"/>
          </p:cNvSpPr>
          <p:nvPr>
            <p:ph type="title" hasCustomPrompt="1"/>
          </p:nvPr>
        </p:nvSpPr>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22"/>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23"/>
          </p:nvPr>
        </p:nvSpPr>
        <p:spPr/>
        <p:txBody>
          <a:bodyPr/>
          <a:lstStyle/>
          <a:p>
            <a:r>
              <a:rPr lang="de-DE" noProof="0"/>
              <a:t>FZI Forschungszentrum Informatik</a:t>
            </a:r>
          </a:p>
        </p:txBody>
      </p:sp>
      <p:sp>
        <p:nvSpPr>
          <p:cNvPr id="9" name="Foliennummernplatzhalter 8"/>
          <p:cNvSpPr>
            <a:spLocks noGrp="1"/>
          </p:cNvSpPr>
          <p:nvPr>
            <p:ph type="sldNum" sz="quarter" idx="24"/>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15348583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6x">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marL="0" indent="0">
              <a:buClr>
                <a:srgbClr val="0E2356"/>
              </a:buClr>
              <a:buSzPct val="110000"/>
              <a:buFont typeface="Source Sans Pro SemiBold" panose="020B0603030403020204" pitchFamily="34" charset="0"/>
              <a:buNone/>
              <a:defRPr b="1">
                <a:solidFill>
                  <a:srgbClr val="0E2356"/>
                </a:solidFill>
              </a:defRPr>
            </a:lvl1pPr>
          </a:lstStyle>
          <a:p>
            <a:r>
              <a:rPr lang="de-DE"/>
              <a:t>Titel: Agenda</a:t>
            </a:r>
          </a:p>
        </p:txBody>
      </p:sp>
      <p:sp>
        <p:nvSpPr>
          <p:cNvPr id="6" name="Datumsplatzhalter 5"/>
          <p:cNvSpPr>
            <a:spLocks noGrp="1"/>
          </p:cNvSpPr>
          <p:nvPr>
            <p:ph type="dt" sz="half" idx="29"/>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30"/>
          </p:nvPr>
        </p:nvSpPr>
        <p:spPr/>
        <p:txBody>
          <a:bodyPr/>
          <a:lstStyle/>
          <a:p>
            <a:r>
              <a:rPr lang="de-DE" noProof="0"/>
              <a:t>FZI Forschungszentrum Informatik</a:t>
            </a:r>
          </a:p>
        </p:txBody>
      </p:sp>
      <p:sp>
        <p:nvSpPr>
          <p:cNvPr id="9" name="Foliennummernplatzhalter 8"/>
          <p:cNvSpPr>
            <a:spLocks noGrp="1"/>
          </p:cNvSpPr>
          <p:nvPr>
            <p:ph type="sldNum" sz="quarter" idx="31"/>
          </p:nvPr>
        </p:nvSpPr>
        <p:spPr/>
        <p:txBody>
          <a:bodyPr/>
          <a:lstStyle/>
          <a:p>
            <a:fld id="{02CEFE82-39F2-4F47-8A0C-D5AB3496FA5C}" type="slidenum">
              <a:rPr lang="de-DE" noProof="0" smtClean="0"/>
              <a:pPr/>
              <a:t>‹#›</a:t>
            </a:fld>
            <a:endParaRPr lang="de-DE" noProof="0"/>
          </a:p>
        </p:txBody>
      </p:sp>
      <p:sp>
        <p:nvSpPr>
          <p:cNvPr id="7" name="Textplatzhalter 6"/>
          <p:cNvSpPr>
            <a:spLocks noGrp="1"/>
          </p:cNvSpPr>
          <p:nvPr>
            <p:ph type="body" sz="quarter" idx="13" hasCustomPrompt="1"/>
          </p:nvPr>
        </p:nvSpPr>
        <p:spPr>
          <a:xfrm>
            <a:off x="1119662" y="2237014"/>
            <a:ext cx="2921657" cy="816430"/>
          </a:xfrm>
        </p:spPr>
        <p:txBody>
          <a:bodyPr anchor="ctr"/>
          <a:lstStyle>
            <a:lvl1pPr marL="0" marR="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sp>
        <p:nvSpPr>
          <p:cNvPr id="10" name="Textplatzhalter 6"/>
          <p:cNvSpPr>
            <a:spLocks noGrp="1"/>
          </p:cNvSpPr>
          <p:nvPr>
            <p:ph type="body" sz="quarter" idx="16" hasCustomPrompt="1"/>
          </p:nvPr>
        </p:nvSpPr>
        <p:spPr>
          <a:xfrm>
            <a:off x="8126903" y="2258634"/>
            <a:ext cx="2921657" cy="816430"/>
          </a:xfrm>
        </p:spPr>
        <p:txBody>
          <a:bodyPr anchor="ctr"/>
          <a:lstStyle>
            <a:lvl1pPr marL="0" marR="0" indent="0" algn="l"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l" defTabSz="914400" rtl="0" eaLnBrk="1" fontAlgn="auto" latinLnBrk="0" hangingPunct="1">
              <a:lnSpc>
                <a:spcPct val="110000"/>
              </a:lnSpc>
              <a:spcBef>
                <a:spcPts val="0"/>
              </a:spcBef>
              <a:spcAft>
                <a:spcPts val="100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grpSp>
        <p:nvGrpSpPr>
          <p:cNvPr id="11" name="Gruppieren 10">
            <a:extLst>
              <a:ext uri="{FF2B5EF4-FFF2-40B4-BE49-F238E27FC236}">
                <a16:creationId xmlns:a16="http://schemas.microsoft.com/office/drawing/2014/main" id="{3658FF60-A033-48E9-BDCA-6A42745D0B3B}"/>
              </a:ext>
            </a:extLst>
          </p:cNvPr>
          <p:cNvGrpSpPr/>
          <p:nvPr userDrawn="1"/>
        </p:nvGrpSpPr>
        <p:grpSpPr bwMode="gray">
          <a:xfrm>
            <a:off x="4169829" y="2216849"/>
            <a:ext cx="1690746" cy="900000"/>
            <a:chOff x="3800475" y="1970965"/>
            <a:chExt cx="1690746" cy="900000"/>
          </a:xfrm>
        </p:grpSpPr>
        <p:sp>
          <p:nvSpPr>
            <p:cNvPr id="12" name="Rechteck 11">
              <a:extLst>
                <a:ext uri="{FF2B5EF4-FFF2-40B4-BE49-F238E27FC236}">
                  <a16:creationId xmlns:a16="http://schemas.microsoft.com/office/drawing/2014/main" id="{38291149-1D7F-44F6-8FDB-3A075DC88164}"/>
                </a:ext>
              </a:extLst>
            </p:cNvPr>
            <p:cNvSpPr>
              <a:spLocks noChangeAspect="1"/>
            </p:cNvSpPr>
            <p:nvPr/>
          </p:nvSpPr>
          <p:spPr bwMode="gray">
            <a:xfrm>
              <a:off x="4591221" y="1970965"/>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cxnSp>
          <p:nvCxnSpPr>
            <p:cNvPr id="13" name="Linie">
              <a:extLst>
                <a:ext uri="{FF2B5EF4-FFF2-40B4-BE49-F238E27FC236}">
                  <a16:creationId xmlns:a16="http://schemas.microsoft.com/office/drawing/2014/main" id="{ACE23054-734A-4241-98B8-08E94CC3689D}"/>
                </a:ext>
              </a:extLst>
            </p:cNvPr>
            <p:cNvCxnSpPr/>
            <p:nvPr/>
          </p:nvCxnSpPr>
          <p:spPr bwMode="gray">
            <a:xfrm>
              <a:off x="3800475" y="2420965"/>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14" name="Rechteck 13">
              <a:extLst>
                <a:ext uri="{FF2B5EF4-FFF2-40B4-BE49-F238E27FC236}">
                  <a16:creationId xmlns:a16="http://schemas.microsoft.com/office/drawing/2014/main" id="{879991E4-337A-4EE1-9574-3024761EC763}"/>
                </a:ext>
              </a:extLst>
            </p:cNvPr>
            <p:cNvSpPr/>
            <p:nvPr/>
          </p:nvSpPr>
          <p:spPr bwMode="gray">
            <a:xfrm>
              <a:off x="4681221" y="2060965"/>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1</a:t>
              </a:r>
            </a:p>
          </p:txBody>
        </p:sp>
      </p:grpSp>
      <p:grpSp>
        <p:nvGrpSpPr>
          <p:cNvPr id="15" name="Gruppieren 14">
            <a:extLst>
              <a:ext uri="{FF2B5EF4-FFF2-40B4-BE49-F238E27FC236}">
                <a16:creationId xmlns:a16="http://schemas.microsoft.com/office/drawing/2014/main" id="{8BF716C8-7FFF-4836-B4F3-F334F2D9BB39}"/>
              </a:ext>
            </a:extLst>
          </p:cNvPr>
          <p:cNvGrpSpPr/>
          <p:nvPr userDrawn="1"/>
        </p:nvGrpSpPr>
        <p:grpSpPr bwMode="gray">
          <a:xfrm>
            <a:off x="6328575" y="2216849"/>
            <a:ext cx="1692000" cy="900000"/>
            <a:chOff x="5959221" y="1988749"/>
            <a:chExt cx="1692000" cy="900000"/>
          </a:xfrm>
        </p:grpSpPr>
        <p:cxnSp>
          <p:nvCxnSpPr>
            <p:cNvPr id="16" name="Linie">
              <a:extLst>
                <a:ext uri="{FF2B5EF4-FFF2-40B4-BE49-F238E27FC236}">
                  <a16:creationId xmlns:a16="http://schemas.microsoft.com/office/drawing/2014/main" id="{8BC3BB71-3FE8-4B2A-86A8-8CCB487C316E}"/>
                </a:ext>
              </a:extLst>
            </p:cNvPr>
            <p:cNvCxnSpPr/>
            <p:nvPr/>
          </p:nvCxnSpPr>
          <p:spPr bwMode="gray">
            <a:xfrm>
              <a:off x="6859221" y="2438749"/>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grpSp>
          <p:nvGrpSpPr>
            <p:cNvPr id="17" name="Gruppieren 16">
              <a:extLst>
                <a:ext uri="{FF2B5EF4-FFF2-40B4-BE49-F238E27FC236}">
                  <a16:creationId xmlns:a16="http://schemas.microsoft.com/office/drawing/2014/main" id="{B5B891B7-F057-4CC6-9D13-72DA735006C3}"/>
                </a:ext>
              </a:extLst>
            </p:cNvPr>
            <p:cNvGrpSpPr/>
            <p:nvPr/>
          </p:nvGrpSpPr>
          <p:grpSpPr bwMode="gray">
            <a:xfrm>
              <a:off x="5959221" y="1988749"/>
              <a:ext cx="900000" cy="900000"/>
              <a:chOff x="5959221" y="1988749"/>
              <a:chExt cx="900000" cy="900000"/>
            </a:xfrm>
          </p:grpSpPr>
          <p:sp>
            <p:nvSpPr>
              <p:cNvPr id="18" name="Rechteck 17">
                <a:extLst>
                  <a:ext uri="{FF2B5EF4-FFF2-40B4-BE49-F238E27FC236}">
                    <a16:creationId xmlns:a16="http://schemas.microsoft.com/office/drawing/2014/main" id="{47D7545C-3656-4C94-A9E7-E5FA38619408}"/>
                  </a:ext>
                </a:extLst>
              </p:cNvPr>
              <p:cNvSpPr>
                <a:spLocks noChangeAspect="1"/>
              </p:cNvSpPr>
              <p:nvPr/>
            </p:nvSpPr>
            <p:spPr bwMode="gray">
              <a:xfrm>
                <a:off x="5959221" y="1988749"/>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sp>
            <p:nvSpPr>
              <p:cNvPr id="19" name="Rechteck 18">
                <a:extLst>
                  <a:ext uri="{FF2B5EF4-FFF2-40B4-BE49-F238E27FC236}">
                    <a16:creationId xmlns:a16="http://schemas.microsoft.com/office/drawing/2014/main" id="{852C4639-8369-4536-8770-9EF49424CC00}"/>
                  </a:ext>
                </a:extLst>
              </p:cNvPr>
              <p:cNvSpPr/>
              <p:nvPr/>
            </p:nvSpPr>
            <p:spPr bwMode="gray">
              <a:xfrm>
                <a:off x="6049221" y="207874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4</a:t>
                </a:r>
              </a:p>
            </p:txBody>
          </p:sp>
        </p:grpSp>
      </p:grpSp>
      <p:sp>
        <p:nvSpPr>
          <p:cNvPr id="20" name="Textplatzhalter 6"/>
          <p:cNvSpPr>
            <a:spLocks noGrp="1"/>
          </p:cNvSpPr>
          <p:nvPr>
            <p:ph type="body" sz="quarter" idx="21" hasCustomPrompt="1"/>
          </p:nvPr>
        </p:nvSpPr>
        <p:spPr>
          <a:xfrm>
            <a:off x="1119662" y="3581516"/>
            <a:ext cx="2921657" cy="816430"/>
          </a:xfrm>
        </p:spPr>
        <p:txBody>
          <a:bodyPr anchor="ctr"/>
          <a:lstStyle>
            <a:lvl1pPr marL="0" marR="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sp>
        <p:nvSpPr>
          <p:cNvPr id="21" name="Textplatzhalter 6"/>
          <p:cNvSpPr>
            <a:spLocks noGrp="1"/>
          </p:cNvSpPr>
          <p:nvPr>
            <p:ph type="body" sz="quarter" idx="22" hasCustomPrompt="1"/>
          </p:nvPr>
        </p:nvSpPr>
        <p:spPr>
          <a:xfrm>
            <a:off x="8126903" y="3603136"/>
            <a:ext cx="2921657" cy="816430"/>
          </a:xfrm>
        </p:spPr>
        <p:txBody>
          <a:bodyPr anchor="ctr"/>
          <a:lstStyle>
            <a:lvl1pPr marL="0" marR="0" indent="0" algn="l"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l" defTabSz="914400" rtl="0" eaLnBrk="1" fontAlgn="auto" latinLnBrk="0" hangingPunct="1">
              <a:lnSpc>
                <a:spcPct val="110000"/>
              </a:lnSpc>
              <a:spcBef>
                <a:spcPts val="0"/>
              </a:spcBef>
              <a:spcAft>
                <a:spcPts val="100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grpSp>
        <p:nvGrpSpPr>
          <p:cNvPr id="22" name="Gruppieren 21">
            <a:extLst>
              <a:ext uri="{FF2B5EF4-FFF2-40B4-BE49-F238E27FC236}">
                <a16:creationId xmlns:a16="http://schemas.microsoft.com/office/drawing/2014/main" id="{3658FF60-A033-48E9-BDCA-6A42745D0B3B}"/>
              </a:ext>
            </a:extLst>
          </p:cNvPr>
          <p:cNvGrpSpPr/>
          <p:nvPr userDrawn="1"/>
        </p:nvGrpSpPr>
        <p:grpSpPr bwMode="gray">
          <a:xfrm>
            <a:off x="4169829" y="3561351"/>
            <a:ext cx="1690746" cy="900000"/>
            <a:chOff x="3800475" y="1970965"/>
            <a:chExt cx="1690746" cy="900000"/>
          </a:xfrm>
        </p:grpSpPr>
        <p:sp>
          <p:nvSpPr>
            <p:cNvPr id="23" name="Rechteck 22">
              <a:extLst>
                <a:ext uri="{FF2B5EF4-FFF2-40B4-BE49-F238E27FC236}">
                  <a16:creationId xmlns:a16="http://schemas.microsoft.com/office/drawing/2014/main" id="{38291149-1D7F-44F6-8FDB-3A075DC88164}"/>
                </a:ext>
              </a:extLst>
            </p:cNvPr>
            <p:cNvSpPr>
              <a:spLocks noChangeAspect="1"/>
            </p:cNvSpPr>
            <p:nvPr/>
          </p:nvSpPr>
          <p:spPr bwMode="gray">
            <a:xfrm>
              <a:off x="4591221" y="1970965"/>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cxnSp>
          <p:nvCxnSpPr>
            <p:cNvPr id="24" name="Linie">
              <a:extLst>
                <a:ext uri="{FF2B5EF4-FFF2-40B4-BE49-F238E27FC236}">
                  <a16:creationId xmlns:a16="http://schemas.microsoft.com/office/drawing/2014/main" id="{ACE23054-734A-4241-98B8-08E94CC3689D}"/>
                </a:ext>
              </a:extLst>
            </p:cNvPr>
            <p:cNvCxnSpPr/>
            <p:nvPr/>
          </p:nvCxnSpPr>
          <p:spPr bwMode="gray">
            <a:xfrm>
              <a:off x="3800475" y="2420965"/>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25" name="Rechteck 24">
              <a:extLst>
                <a:ext uri="{FF2B5EF4-FFF2-40B4-BE49-F238E27FC236}">
                  <a16:creationId xmlns:a16="http://schemas.microsoft.com/office/drawing/2014/main" id="{879991E4-337A-4EE1-9574-3024761EC763}"/>
                </a:ext>
              </a:extLst>
            </p:cNvPr>
            <p:cNvSpPr/>
            <p:nvPr/>
          </p:nvSpPr>
          <p:spPr bwMode="gray">
            <a:xfrm>
              <a:off x="4681221" y="2060965"/>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2</a:t>
              </a:r>
            </a:p>
          </p:txBody>
        </p:sp>
      </p:grpSp>
      <p:grpSp>
        <p:nvGrpSpPr>
          <p:cNvPr id="26" name="Gruppieren 25">
            <a:extLst>
              <a:ext uri="{FF2B5EF4-FFF2-40B4-BE49-F238E27FC236}">
                <a16:creationId xmlns:a16="http://schemas.microsoft.com/office/drawing/2014/main" id="{8BF716C8-7FFF-4836-B4F3-F334F2D9BB39}"/>
              </a:ext>
            </a:extLst>
          </p:cNvPr>
          <p:cNvGrpSpPr/>
          <p:nvPr userDrawn="1"/>
        </p:nvGrpSpPr>
        <p:grpSpPr bwMode="gray">
          <a:xfrm>
            <a:off x="6328575" y="3561351"/>
            <a:ext cx="1692000" cy="900000"/>
            <a:chOff x="5959221" y="1988749"/>
            <a:chExt cx="1692000" cy="900000"/>
          </a:xfrm>
        </p:grpSpPr>
        <p:cxnSp>
          <p:nvCxnSpPr>
            <p:cNvPr id="27" name="Linie">
              <a:extLst>
                <a:ext uri="{FF2B5EF4-FFF2-40B4-BE49-F238E27FC236}">
                  <a16:creationId xmlns:a16="http://schemas.microsoft.com/office/drawing/2014/main" id="{8BC3BB71-3FE8-4B2A-86A8-8CCB487C316E}"/>
                </a:ext>
              </a:extLst>
            </p:cNvPr>
            <p:cNvCxnSpPr/>
            <p:nvPr/>
          </p:nvCxnSpPr>
          <p:spPr bwMode="gray">
            <a:xfrm>
              <a:off x="6859221" y="2438749"/>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grpSp>
          <p:nvGrpSpPr>
            <p:cNvPr id="28" name="Gruppieren 27">
              <a:extLst>
                <a:ext uri="{FF2B5EF4-FFF2-40B4-BE49-F238E27FC236}">
                  <a16:creationId xmlns:a16="http://schemas.microsoft.com/office/drawing/2014/main" id="{B5B891B7-F057-4CC6-9D13-72DA735006C3}"/>
                </a:ext>
              </a:extLst>
            </p:cNvPr>
            <p:cNvGrpSpPr/>
            <p:nvPr/>
          </p:nvGrpSpPr>
          <p:grpSpPr bwMode="gray">
            <a:xfrm>
              <a:off x="5959221" y="1988749"/>
              <a:ext cx="900000" cy="900000"/>
              <a:chOff x="5959221" y="1988749"/>
              <a:chExt cx="900000" cy="900000"/>
            </a:xfrm>
          </p:grpSpPr>
          <p:sp>
            <p:nvSpPr>
              <p:cNvPr id="29" name="Rechteck 28">
                <a:extLst>
                  <a:ext uri="{FF2B5EF4-FFF2-40B4-BE49-F238E27FC236}">
                    <a16:creationId xmlns:a16="http://schemas.microsoft.com/office/drawing/2014/main" id="{47D7545C-3656-4C94-A9E7-E5FA38619408}"/>
                  </a:ext>
                </a:extLst>
              </p:cNvPr>
              <p:cNvSpPr>
                <a:spLocks noChangeAspect="1"/>
              </p:cNvSpPr>
              <p:nvPr/>
            </p:nvSpPr>
            <p:spPr bwMode="gray">
              <a:xfrm>
                <a:off x="5959221" y="1988749"/>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sp>
            <p:nvSpPr>
              <p:cNvPr id="30" name="Rechteck 29">
                <a:extLst>
                  <a:ext uri="{FF2B5EF4-FFF2-40B4-BE49-F238E27FC236}">
                    <a16:creationId xmlns:a16="http://schemas.microsoft.com/office/drawing/2014/main" id="{852C4639-8369-4536-8770-9EF49424CC00}"/>
                  </a:ext>
                </a:extLst>
              </p:cNvPr>
              <p:cNvSpPr/>
              <p:nvPr/>
            </p:nvSpPr>
            <p:spPr bwMode="gray">
              <a:xfrm>
                <a:off x="6049221" y="207874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5</a:t>
                </a:r>
              </a:p>
            </p:txBody>
          </p:sp>
        </p:grpSp>
      </p:grpSp>
      <p:sp>
        <p:nvSpPr>
          <p:cNvPr id="31" name="Textplatzhalter 6"/>
          <p:cNvSpPr>
            <a:spLocks noGrp="1"/>
          </p:cNvSpPr>
          <p:nvPr>
            <p:ph type="body" sz="quarter" idx="25" hasCustomPrompt="1"/>
          </p:nvPr>
        </p:nvSpPr>
        <p:spPr>
          <a:xfrm>
            <a:off x="1119662" y="4899422"/>
            <a:ext cx="2921657" cy="816430"/>
          </a:xfrm>
        </p:spPr>
        <p:txBody>
          <a:bodyPr anchor="ctr"/>
          <a:lstStyle>
            <a:lvl1pPr marL="0" marR="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sp>
        <p:nvSpPr>
          <p:cNvPr id="32" name="Textplatzhalter 6"/>
          <p:cNvSpPr>
            <a:spLocks noGrp="1"/>
          </p:cNvSpPr>
          <p:nvPr>
            <p:ph type="body" sz="quarter" idx="26" hasCustomPrompt="1"/>
          </p:nvPr>
        </p:nvSpPr>
        <p:spPr>
          <a:xfrm>
            <a:off x="8126903" y="4921042"/>
            <a:ext cx="2921657" cy="816430"/>
          </a:xfrm>
        </p:spPr>
        <p:txBody>
          <a:bodyPr anchor="ctr"/>
          <a:lstStyle>
            <a:lvl1pPr marL="0" marR="0" indent="0" algn="l"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l" defTabSz="914400" rtl="0" eaLnBrk="1" fontAlgn="auto" latinLnBrk="0" hangingPunct="1">
              <a:lnSpc>
                <a:spcPct val="110000"/>
              </a:lnSpc>
              <a:spcBef>
                <a:spcPts val="0"/>
              </a:spcBef>
              <a:spcAft>
                <a:spcPts val="100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grpSp>
        <p:nvGrpSpPr>
          <p:cNvPr id="33" name="Gruppieren 32">
            <a:extLst>
              <a:ext uri="{FF2B5EF4-FFF2-40B4-BE49-F238E27FC236}">
                <a16:creationId xmlns:a16="http://schemas.microsoft.com/office/drawing/2014/main" id="{3658FF60-A033-48E9-BDCA-6A42745D0B3B}"/>
              </a:ext>
            </a:extLst>
          </p:cNvPr>
          <p:cNvGrpSpPr/>
          <p:nvPr userDrawn="1"/>
        </p:nvGrpSpPr>
        <p:grpSpPr bwMode="gray">
          <a:xfrm>
            <a:off x="4169829" y="4879257"/>
            <a:ext cx="1690746" cy="900000"/>
            <a:chOff x="3800475" y="1970965"/>
            <a:chExt cx="1690746" cy="900000"/>
          </a:xfrm>
        </p:grpSpPr>
        <p:sp>
          <p:nvSpPr>
            <p:cNvPr id="34" name="Rechteck 33">
              <a:extLst>
                <a:ext uri="{FF2B5EF4-FFF2-40B4-BE49-F238E27FC236}">
                  <a16:creationId xmlns:a16="http://schemas.microsoft.com/office/drawing/2014/main" id="{38291149-1D7F-44F6-8FDB-3A075DC88164}"/>
                </a:ext>
              </a:extLst>
            </p:cNvPr>
            <p:cNvSpPr>
              <a:spLocks noChangeAspect="1"/>
            </p:cNvSpPr>
            <p:nvPr/>
          </p:nvSpPr>
          <p:spPr bwMode="gray">
            <a:xfrm>
              <a:off x="4591221" y="1970965"/>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cxnSp>
          <p:nvCxnSpPr>
            <p:cNvPr id="35" name="Linie">
              <a:extLst>
                <a:ext uri="{FF2B5EF4-FFF2-40B4-BE49-F238E27FC236}">
                  <a16:creationId xmlns:a16="http://schemas.microsoft.com/office/drawing/2014/main" id="{ACE23054-734A-4241-98B8-08E94CC3689D}"/>
                </a:ext>
              </a:extLst>
            </p:cNvPr>
            <p:cNvCxnSpPr/>
            <p:nvPr/>
          </p:nvCxnSpPr>
          <p:spPr bwMode="gray">
            <a:xfrm>
              <a:off x="3800475" y="2420965"/>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36" name="Rechteck 35">
              <a:extLst>
                <a:ext uri="{FF2B5EF4-FFF2-40B4-BE49-F238E27FC236}">
                  <a16:creationId xmlns:a16="http://schemas.microsoft.com/office/drawing/2014/main" id="{879991E4-337A-4EE1-9574-3024761EC763}"/>
                </a:ext>
              </a:extLst>
            </p:cNvPr>
            <p:cNvSpPr/>
            <p:nvPr/>
          </p:nvSpPr>
          <p:spPr bwMode="gray">
            <a:xfrm>
              <a:off x="4681221" y="2060965"/>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3</a:t>
              </a:r>
            </a:p>
          </p:txBody>
        </p:sp>
      </p:grpSp>
      <p:grpSp>
        <p:nvGrpSpPr>
          <p:cNvPr id="37" name="Gruppieren 36">
            <a:extLst>
              <a:ext uri="{FF2B5EF4-FFF2-40B4-BE49-F238E27FC236}">
                <a16:creationId xmlns:a16="http://schemas.microsoft.com/office/drawing/2014/main" id="{8BF716C8-7FFF-4836-B4F3-F334F2D9BB39}"/>
              </a:ext>
            </a:extLst>
          </p:cNvPr>
          <p:cNvGrpSpPr/>
          <p:nvPr userDrawn="1"/>
        </p:nvGrpSpPr>
        <p:grpSpPr bwMode="gray">
          <a:xfrm>
            <a:off x="6328575" y="4879257"/>
            <a:ext cx="1692000" cy="900000"/>
            <a:chOff x="5959221" y="1988749"/>
            <a:chExt cx="1692000" cy="900000"/>
          </a:xfrm>
        </p:grpSpPr>
        <p:cxnSp>
          <p:nvCxnSpPr>
            <p:cNvPr id="38" name="Linie">
              <a:extLst>
                <a:ext uri="{FF2B5EF4-FFF2-40B4-BE49-F238E27FC236}">
                  <a16:creationId xmlns:a16="http://schemas.microsoft.com/office/drawing/2014/main" id="{8BC3BB71-3FE8-4B2A-86A8-8CCB487C316E}"/>
                </a:ext>
              </a:extLst>
            </p:cNvPr>
            <p:cNvCxnSpPr/>
            <p:nvPr/>
          </p:nvCxnSpPr>
          <p:spPr bwMode="gray">
            <a:xfrm>
              <a:off x="6859221" y="2438749"/>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grpSp>
          <p:nvGrpSpPr>
            <p:cNvPr id="39" name="Gruppieren 38">
              <a:extLst>
                <a:ext uri="{FF2B5EF4-FFF2-40B4-BE49-F238E27FC236}">
                  <a16:creationId xmlns:a16="http://schemas.microsoft.com/office/drawing/2014/main" id="{B5B891B7-F057-4CC6-9D13-72DA735006C3}"/>
                </a:ext>
              </a:extLst>
            </p:cNvPr>
            <p:cNvGrpSpPr/>
            <p:nvPr/>
          </p:nvGrpSpPr>
          <p:grpSpPr bwMode="gray">
            <a:xfrm>
              <a:off x="5959221" y="1988749"/>
              <a:ext cx="900000" cy="900000"/>
              <a:chOff x="5959221" y="1988749"/>
              <a:chExt cx="900000" cy="900000"/>
            </a:xfrm>
          </p:grpSpPr>
          <p:sp>
            <p:nvSpPr>
              <p:cNvPr id="40" name="Rechteck 39">
                <a:extLst>
                  <a:ext uri="{FF2B5EF4-FFF2-40B4-BE49-F238E27FC236}">
                    <a16:creationId xmlns:a16="http://schemas.microsoft.com/office/drawing/2014/main" id="{47D7545C-3656-4C94-A9E7-E5FA38619408}"/>
                  </a:ext>
                </a:extLst>
              </p:cNvPr>
              <p:cNvSpPr>
                <a:spLocks noChangeAspect="1"/>
              </p:cNvSpPr>
              <p:nvPr/>
            </p:nvSpPr>
            <p:spPr bwMode="gray">
              <a:xfrm>
                <a:off x="5959221" y="1988749"/>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sp>
            <p:nvSpPr>
              <p:cNvPr id="41" name="Rechteck 40">
                <a:extLst>
                  <a:ext uri="{FF2B5EF4-FFF2-40B4-BE49-F238E27FC236}">
                    <a16:creationId xmlns:a16="http://schemas.microsoft.com/office/drawing/2014/main" id="{852C4639-8369-4536-8770-9EF49424CC00}"/>
                  </a:ext>
                </a:extLst>
              </p:cNvPr>
              <p:cNvSpPr/>
              <p:nvPr/>
            </p:nvSpPr>
            <p:spPr bwMode="gray">
              <a:xfrm>
                <a:off x="6049221" y="207874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6</a:t>
                </a:r>
              </a:p>
            </p:txBody>
          </p:sp>
        </p:grpSp>
      </p:grpSp>
      <p:sp>
        <p:nvSpPr>
          <p:cNvPr id="43" name="Textplatzhalter 3">
            <a:extLst>
              <a:ext uri="{FF2B5EF4-FFF2-40B4-BE49-F238E27FC236}">
                <a16:creationId xmlns:a16="http://schemas.microsoft.com/office/drawing/2014/main" id="{E5099914-7874-4637-AE82-C43268E2E775}"/>
              </a:ext>
            </a:extLst>
          </p:cNvPr>
          <p:cNvSpPr>
            <a:spLocks noGrp="1"/>
          </p:cNvSpPr>
          <p:nvPr>
            <p:ph type="body" sz="quarter" idx="28" hasCustomPrompt="1"/>
          </p:nvPr>
        </p:nvSpPr>
        <p:spPr>
          <a:xfrm>
            <a:off x="539750" y="971685"/>
            <a:ext cx="10387013" cy="528638"/>
          </a:xfrm>
        </p:spPr>
        <p:txBody>
          <a:bodyPr/>
          <a:lstStyle>
            <a:lvl1pPr marL="0" indent="0">
              <a:buNone/>
              <a:defRPr sz="2000">
                <a:solidFill>
                  <a:srgbClr val="2FAE7A"/>
                </a:solidFill>
              </a:defRPr>
            </a:lvl1pPr>
          </a:lstStyle>
          <a:p>
            <a:pPr lvl="0"/>
            <a:r>
              <a:rPr lang="de-DE"/>
              <a:t>Das ist eine optionale </a:t>
            </a:r>
            <a:r>
              <a:rPr lang="de-DE" err="1"/>
              <a:t>Subline</a:t>
            </a:r>
            <a:r>
              <a:rPr lang="de-DE"/>
              <a:t>. Bei Nichtnutzung einfach löschen. </a:t>
            </a:r>
          </a:p>
        </p:txBody>
      </p:sp>
    </p:spTree>
    <p:extLst>
      <p:ext uri="{BB962C8B-B14F-4D97-AF65-F5344CB8AC3E}">
        <p14:creationId xmlns:p14="http://schemas.microsoft.com/office/powerpoint/2010/main" val="39480759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x Bild und Text B">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E2801DF-E796-4473-A2FF-73A153A17A69}"/>
              </a:ext>
            </a:extLst>
          </p:cNvPr>
          <p:cNvSpPr>
            <a:spLocks noGrp="1"/>
          </p:cNvSpPr>
          <p:nvPr>
            <p:ph type="body" sz="quarter" idx="14" hasCustomPrompt="1"/>
          </p:nvPr>
        </p:nvSpPr>
        <p:spPr>
          <a:xfrm>
            <a:off x="540000" y="4178660"/>
            <a:ext cx="2484000" cy="1636542"/>
          </a:xfrm>
        </p:spPr>
        <p:txBody>
          <a:bodyPr vert="horz" lIns="0" tIns="0" rIns="0" bIns="0" rtlCol="0" anchor="t">
            <a:noAutofit/>
          </a:bodyPr>
          <a:lstStyle>
            <a:lvl1pPr marL="0" indent="0" algn="l">
              <a:buFontTx/>
              <a:buNone/>
              <a:defRPr lang="de-DE" sz="1600" smtClean="0">
                <a:solidFill>
                  <a:schemeClr val="tx2">
                    <a:lumMod val="75000"/>
                  </a:schemeClr>
                </a:solidFill>
              </a:defRPr>
            </a:lvl1pPr>
            <a:lvl2pPr>
              <a:defRPr lang="de-DE" smtClean="0">
                <a:solidFill>
                  <a:schemeClr val="tx1"/>
                </a:solidFill>
              </a:defRPr>
            </a:lvl2pPr>
            <a:lvl3pPr>
              <a:defRPr lang="de-DE" smtClean="0">
                <a:solidFill>
                  <a:schemeClr val="tx1"/>
                </a:solidFill>
              </a:defRPr>
            </a:lvl3pPr>
            <a:lvl4pPr>
              <a:defRPr lang="de-DE" smtClean="0">
                <a:solidFill>
                  <a:schemeClr val="tx1"/>
                </a:solidFill>
              </a:defRPr>
            </a:lvl4pPr>
            <a:lvl5pPr>
              <a:defRPr lang="en-US">
                <a:solidFill>
                  <a:schemeClr val="tx1"/>
                </a:solidFill>
              </a:defRPr>
            </a:lvl5pPr>
          </a:lstStyle>
          <a:p>
            <a:pPr lvl="0"/>
            <a:r>
              <a:rPr lang="de-DE"/>
              <a:t>Textmasterformat bearbeiten</a:t>
            </a:r>
          </a:p>
        </p:txBody>
      </p:sp>
      <p:sp>
        <p:nvSpPr>
          <p:cNvPr id="38" name="Bildplatzhalter 37">
            <a:extLst>
              <a:ext uri="{FF2B5EF4-FFF2-40B4-BE49-F238E27FC236}">
                <a16:creationId xmlns:a16="http://schemas.microsoft.com/office/drawing/2014/main" id="{E2B79282-7066-4128-B727-4FA382CB2657}"/>
              </a:ext>
            </a:extLst>
          </p:cNvPr>
          <p:cNvSpPr>
            <a:spLocks noGrp="1" noChangeAspect="1"/>
          </p:cNvSpPr>
          <p:nvPr>
            <p:ph type="pic" sz="quarter" idx="15"/>
          </p:nvPr>
        </p:nvSpPr>
        <p:spPr>
          <a:xfrm>
            <a:off x="3415200" y="1874659"/>
            <a:ext cx="1944000" cy="19440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39" name="Bildplatzhalter 37">
            <a:extLst>
              <a:ext uri="{FF2B5EF4-FFF2-40B4-BE49-F238E27FC236}">
                <a16:creationId xmlns:a16="http://schemas.microsoft.com/office/drawing/2014/main" id="{2394A586-E9A4-4440-A304-E171A92ED46C}"/>
              </a:ext>
            </a:extLst>
          </p:cNvPr>
          <p:cNvSpPr>
            <a:spLocks noGrp="1" noChangeAspect="1"/>
          </p:cNvSpPr>
          <p:nvPr>
            <p:ph type="pic" sz="quarter" idx="16"/>
          </p:nvPr>
        </p:nvSpPr>
        <p:spPr>
          <a:xfrm>
            <a:off x="6290400" y="1874659"/>
            <a:ext cx="1944000" cy="19440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40" name="Bildplatzhalter 37">
            <a:extLst>
              <a:ext uri="{FF2B5EF4-FFF2-40B4-BE49-F238E27FC236}">
                <a16:creationId xmlns:a16="http://schemas.microsoft.com/office/drawing/2014/main" id="{BACE67F3-129E-4A37-AA2B-2B74E473302F}"/>
              </a:ext>
            </a:extLst>
          </p:cNvPr>
          <p:cNvSpPr>
            <a:spLocks noGrp="1" noChangeAspect="1"/>
          </p:cNvSpPr>
          <p:nvPr>
            <p:ph type="pic" sz="quarter" idx="17"/>
          </p:nvPr>
        </p:nvSpPr>
        <p:spPr>
          <a:xfrm>
            <a:off x="540000" y="1874659"/>
            <a:ext cx="1944000" cy="1944000"/>
          </a:xfrm>
          <a:solidFill>
            <a:schemeClr val="bg1">
              <a:lumMod val="85000"/>
            </a:schemeClr>
          </a:solidFill>
        </p:spPr>
        <p:txBody>
          <a:bodyPr vert="horz"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41" name="Textplatzhalter 3">
            <a:extLst>
              <a:ext uri="{FF2B5EF4-FFF2-40B4-BE49-F238E27FC236}">
                <a16:creationId xmlns:a16="http://schemas.microsoft.com/office/drawing/2014/main" id="{E925ED03-1B06-4B14-8153-45479D16AFF0}"/>
              </a:ext>
            </a:extLst>
          </p:cNvPr>
          <p:cNvSpPr>
            <a:spLocks noGrp="1"/>
          </p:cNvSpPr>
          <p:nvPr>
            <p:ph type="body" sz="quarter" idx="18" hasCustomPrompt="1"/>
          </p:nvPr>
        </p:nvSpPr>
        <p:spPr>
          <a:xfrm>
            <a:off x="6290400" y="4178660"/>
            <a:ext cx="2484000" cy="1636542"/>
          </a:xfrm>
        </p:spPr>
        <p:txBody>
          <a:bodyPr vert="horz" lIns="0" tIns="0" rIns="0" bIns="0" rtlCol="0" anchor="t">
            <a:noAutofit/>
          </a:bodyPr>
          <a:lstStyle>
            <a:lvl1pPr marL="0" indent="0" algn="l">
              <a:buFontTx/>
              <a:buNone/>
              <a:defRPr lang="de-DE" sz="1600" smtClean="0">
                <a:solidFill>
                  <a:schemeClr val="tx2">
                    <a:lumMod val="75000"/>
                  </a:schemeClr>
                </a:solidFill>
              </a:defRPr>
            </a:lvl1pPr>
            <a:lvl2pPr>
              <a:defRPr lang="de-DE" smtClean="0">
                <a:solidFill>
                  <a:schemeClr val="tx1"/>
                </a:solidFill>
              </a:defRPr>
            </a:lvl2pPr>
            <a:lvl3pPr>
              <a:defRPr lang="de-DE" smtClean="0">
                <a:solidFill>
                  <a:schemeClr val="tx1"/>
                </a:solidFill>
              </a:defRPr>
            </a:lvl3pPr>
            <a:lvl4pPr>
              <a:defRPr lang="de-DE" smtClean="0">
                <a:solidFill>
                  <a:schemeClr val="tx1"/>
                </a:solidFill>
              </a:defRPr>
            </a:lvl4pPr>
            <a:lvl5pPr>
              <a:defRPr lang="en-US">
                <a:solidFill>
                  <a:schemeClr val="tx1"/>
                </a:solidFill>
              </a:defRPr>
            </a:lvl5pPr>
          </a:lstStyle>
          <a:p>
            <a:pPr lvl="0"/>
            <a:r>
              <a:rPr lang="de-DE"/>
              <a:t>Textmasterformat bearbeiten</a:t>
            </a:r>
          </a:p>
        </p:txBody>
      </p:sp>
      <p:sp>
        <p:nvSpPr>
          <p:cNvPr id="42" name="Textplatzhalter 3">
            <a:extLst>
              <a:ext uri="{FF2B5EF4-FFF2-40B4-BE49-F238E27FC236}">
                <a16:creationId xmlns:a16="http://schemas.microsoft.com/office/drawing/2014/main" id="{2397A1A9-5653-4B59-BD51-F6C97A4AA702}"/>
              </a:ext>
            </a:extLst>
          </p:cNvPr>
          <p:cNvSpPr>
            <a:spLocks noGrp="1"/>
          </p:cNvSpPr>
          <p:nvPr>
            <p:ph type="body" sz="quarter" idx="19" hasCustomPrompt="1"/>
          </p:nvPr>
        </p:nvSpPr>
        <p:spPr>
          <a:xfrm>
            <a:off x="3415200" y="4178660"/>
            <a:ext cx="2484000" cy="1636542"/>
          </a:xfrm>
        </p:spPr>
        <p:txBody>
          <a:bodyPr vert="horz" lIns="0" tIns="0" rIns="0" bIns="0" rtlCol="0" anchor="t">
            <a:noAutofit/>
          </a:bodyPr>
          <a:lstStyle>
            <a:lvl1pPr marL="0" indent="0" algn="l">
              <a:buFontTx/>
              <a:buNone/>
              <a:defRPr lang="de-DE" sz="1600" smtClean="0">
                <a:solidFill>
                  <a:schemeClr val="tx2">
                    <a:lumMod val="75000"/>
                  </a:schemeClr>
                </a:solidFill>
              </a:defRPr>
            </a:lvl1pPr>
            <a:lvl2pPr>
              <a:defRPr lang="de-DE" smtClean="0">
                <a:solidFill>
                  <a:schemeClr val="tx1"/>
                </a:solidFill>
              </a:defRPr>
            </a:lvl2pPr>
            <a:lvl3pPr>
              <a:defRPr lang="de-DE" smtClean="0">
                <a:solidFill>
                  <a:schemeClr val="tx1"/>
                </a:solidFill>
              </a:defRPr>
            </a:lvl3pPr>
            <a:lvl4pPr>
              <a:defRPr lang="de-DE" smtClean="0">
                <a:solidFill>
                  <a:schemeClr val="tx1"/>
                </a:solidFill>
              </a:defRPr>
            </a:lvl4pPr>
            <a:lvl5pPr>
              <a:defRPr lang="en-US">
                <a:solidFill>
                  <a:schemeClr val="tx1"/>
                </a:solidFill>
              </a:defRPr>
            </a:lvl5pPr>
          </a:lstStyle>
          <a:p>
            <a:pPr lvl="0"/>
            <a:r>
              <a:rPr lang="de-DE"/>
              <a:t>Textmasterformat bearbeiten</a:t>
            </a:r>
          </a:p>
        </p:txBody>
      </p:sp>
      <p:sp>
        <p:nvSpPr>
          <p:cNvPr id="43" name="Textplatzhalter 3">
            <a:extLst>
              <a:ext uri="{FF2B5EF4-FFF2-40B4-BE49-F238E27FC236}">
                <a16:creationId xmlns:a16="http://schemas.microsoft.com/office/drawing/2014/main" id="{01BA5272-6B99-4650-BC3B-BABA93DBEAE5}"/>
              </a:ext>
            </a:extLst>
          </p:cNvPr>
          <p:cNvSpPr>
            <a:spLocks noGrp="1"/>
          </p:cNvSpPr>
          <p:nvPr>
            <p:ph type="body" sz="quarter" idx="20" hasCustomPrompt="1"/>
          </p:nvPr>
        </p:nvSpPr>
        <p:spPr>
          <a:xfrm>
            <a:off x="9165600" y="4178660"/>
            <a:ext cx="2484000" cy="1636542"/>
          </a:xfrm>
        </p:spPr>
        <p:txBody>
          <a:bodyPr vert="horz" lIns="0" tIns="0" rIns="0" bIns="0" rtlCol="0" anchor="t">
            <a:noAutofit/>
          </a:bodyPr>
          <a:lstStyle>
            <a:lvl1pPr marL="0" indent="0" algn="l">
              <a:buFontTx/>
              <a:buNone/>
              <a:defRPr lang="de-DE" sz="1600" smtClean="0">
                <a:solidFill>
                  <a:schemeClr val="tx2">
                    <a:lumMod val="75000"/>
                  </a:schemeClr>
                </a:solidFill>
              </a:defRPr>
            </a:lvl1pPr>
            <a:lvl2pPr>
              <a:defRPr lang="de-DE" smtClean="0">
                <a:solidFill>
                  <a:schemeClr val="tx1"/>
                </a:solidFill>
              </a:defRPr>
            </a:lvl2pPr>
            <a:lvl3pPr>
              <a:defRPr lang="de-DE" smtClean="0">
                <a:solidFill>
                  <a:schemeClr val="tx1"/>
                </a:solidFill>
              </a:defRPr>
            </a:lvl3pPr>
            <a:lvl4pPr>
              <a:defRPr lang="de-DE" smtClean="0">
                <a:solidFill>
                  <a:schemeClr val="tx1"/>
                </a:solidFill>
              </a:defRPr>
            </a:lvl4pPr>
            <a:lvl5pPr>
              <a:defRPr lang="en-US">
                <a:solidFill>
                  <a:schemeClr val="tx1"/>
                </a:solidFill>
              </a:defRPr>
            </a:lvl5pPr>
          </a:lstStyle>
          <a:p>
            <a:pPr lvl="0"/>
            <a:r>
              <a:rPr lang="de-DE"/>
              <a:t>Textmasterformat bearbeiten</a:t>
            </a:r>
          </a:p>
        </p:txBody>
      </p:sp>
      <p:sp>
        <p:nvSpPr>
          <p:cNvPr id="50" name="Bildplatzhalter 49">
            <a:extLst>
              <a:ext uri="{FF2B5EF4-FFF2-40B4-BE49-F238E27FC236}">
                <a16:creationId xmlns:a16="http://schemas.microsoft.com/office/drawing/2014/main" id="{2C168271-F4E6-4845-A3C9-AB902871E339}"/>
              </a:ext>
            </a:extLst>
          </p:cNvPr>
          <p:cNvSpPr>
            <a:spLocks noGrp="1" noChangeAspect="1"/>
          </p:cNvSpPr>
          <p:nvPr>
            <p:ph type="pic" sz="quarter" idx="21"/>
          </p:nvPr>
        </p:nvSpPr>
        <p:spPr bwMode="gray">
          <a:xfrm>
            <a:off x="9165600" y="1874659"/>
            <a:ext cx="1944000" cy="1944000"/>
          </a:xfrm>
          <a:prstGeom prst="rect">
            <a:avLst/>
          </a:prstGeom>
          <a:solidFill>
            <a:schemeClr val="bg1">
              <a:lumMod val="85000"/>
            </a:schemeClr>
          </a:solidFill>
        </p:spPr>
        <p:txBody>
          <a:bodyPr vert="horz" wrap="square" lIns="180000" tIns="180000" rIns="180000" bIns="180000" rtlCol="0" anchor="t">
            <a:noAutofit/>
          </a:bodyPr>
          <a:lstStyle>
            <a:lvl1pPr marL="0" indent="0">
              <a:buNone/>
              <a:defRPr lang="en-US">
                <a:solidFill>
                  <a:schemeClr val="tx2">
                    <a:lumMod val="75000"/>
                  </a:schemeClr>
                </a:solidFill>
              </a:defRPr>
            </a:lvl1pPr>
          </a:lstStyle>
          <a:p>
            <a:pPr lvl="0"/>
            <a:r>
              <a:rPr lang="de-DE"/>
              <a:t>Bild durch Klicken auf Symbol hinzufügen</a:t>
            </a:r>
            <a:endParaRPr lang="en-US"/>
          </a:p>
        </p:txBody>
      </p:sp>
      <p:sp>
        <p:nvSpPr>
          <p:cNvPr id="3" name="Titel 2">
            <a:extLst>
              <a:ext uri="{FF2B5EF4-FFF2-40B4-BE49-F238E27FC236}">
                <a16:creationId xmlns:a16="http://schemas.microsoft.com/office/drawing/2014/main" id="{43DF5204-D34D-432F-B2E0-7B9835442BDF}"/>
              </a:ext>
            </a:extLst>
          </p:cNvPr>
          <p:cNvSpPr>
            <a:spLocks noGrp="1"/>
          </p:cNvSpPr>
          <p:nvPr>
            <p:ph type="title" hasCustomPrompt="1"/>
          </p:nvPr>
        </p:nvSpPr>
        <p:spPr>
          <a:xfrm>
            <a:off x="540000" y="432000"/>
            <a:ext cx="10296000" cy="1080000"/>
          </a:xfrm>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cxnSp>
        <p:nvCxnSpPr>
          <p:cNvPr id="15" name="Linie">
            <a:extLst>
              <a:ext uri="{FF2B5EF4-FFF2-40B4-BE49-F238E27FC236}">
                <a16:creationId xmlns:a16="http://schemas.microsoft.com/office/drawing/2014/main" id="{D941FF4F-81BA-422B-A305-890FCE21870E}"/>
              </a:ext>
            </a:extLst>
          </p:cNvPr>
          <p:cNvCxnSpPr>
            <a:cxnSpLocks/>
          </p:cNvCxnSpPr>
          <p:nvPr userDrawn="1"/>
        </p:nvCxnSpPr>
        <p:spPr bwMode="gray">
          <a:xfrm>
            <a:off x="2591999" y="2846659"/>
            <a:ext cx="720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21" name="Linie">
            <a:extLst>
              <a:ext uri="{FF2B5EF4-FFF2-40B4-BE49-F238E27FC236}">
                <a16:creationId xmlns:a16="http://schemas.microsoft.com/office/drawing/2014/main" id="{0AC8C38D-C15F-41B8-87B1-BFDB0B4E6BE1}"/>
              </a:ext>
            </a:extLst>
          </p:cNvPr>
          <p:cNvCxnSpPr>
            <a:cxnSpLocks/>
          </p:cNvCxnSpPr>
          <p:nvPr userDrawn="1"/>
        </p:nvCxnSpPr>
        <p:spPr bwMode="gray">
          <a:xfrm>
            <a:off x="5464800" y="2846659"/>
            <a:ext cx="720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22" name="Linie">
            <a:extLst>
              <a:ext uri="{FF2B5EF4-FFF2-40B4-BE49-F238E27FC236}">
                <a16:creationId xmlns:a16="http://schemas.microsoft.com/office/drawing/2014/main" id="{A7D9A52D-9775-40A8-9E37-5FA3B75096D4}"/>
              </a:ext>
            </a:extLst>
          </p:cNvPr>
          <p:cNvCxnSpPr>
            <a:cxnSpLocks/>
          </p:cNvCxnSpPr>
          <p:nvPr userDrawn="1"/>
        </p:nvCxnSpPr>
        <p:spPr bwMode="gray">
          <a:xfrm>
            <a:off x="8340000" y="2846659"/>
            <a:ext cx="720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2" name="Datumsplatzhalter 1"/>
          <p:cNvSpPr>
            <a:spLocks noGrp="1"/>
          </p:cNvSpPr>
          <p:nvPr>
            <p:ph type="dt" sz="half" idx="22"/>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23"/>
          </p:nvPr>
        </p:nvSpPr>
        <p:spPr/>
        <p:txBody>
          <a:bodyPr/>
          <a:lstStyle/>
          <a:p>
            <a:r>
              <a:rPr lang="de-DE" noProof="0"/>
              <a:t>FZI Forschungszentrum Informatik</a:t>
            </a:r>
          </a:p>
        </p:txBody>
      </p:sp>
      <p:sp>
        <p:nvSpPr>
          <p:cNvPr id="9" name="Foliennummernplatzhalter 8"/>
          <p:cNvSpPr>
            <a:spLocks noGrp="1"/>
          </p:cNvSpPr>
          <p:nvPr>
            <p:ph type="sldNum" sz="quarter" idx="24"/>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9808110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Abschluss">
    <p:spTree>
      <p:nvGrpSpPr>
        <p:cNvPr id="1" name=""/>
        <p:cNvGrpSpPr/>
        <p:nvPr/>
      </p:nvGrpSpPr>
      <p:grpSpPr>
        <a:xfrm>
          <a:off x="0" y="0"/>
          <a:ext cx="0" cy="0"/>
          <a:chOff x="0" y="0"/>
          <a:chExt cx="0" cy="0"/>
        </a:xfrm>
      </p:grpSpPr>
      <p:sp>
        <p:nvSpPr>
          <p:cNvPr id="11" name="Bild"/>
          <p:cNvSpPr>
            <a:spLocks noGrp="1"/>
          </p:cNvSpPr>
          <p:nvPr>
            <p:ph type="pic" sz="quarter" idx="17"/>
          </p:nvPr>
        </p:nvSpPr>
        <p:spPr bwMode="gray">
          <a:xfrm>
            <a:off x="0" y="1512000"/>
            <a:ext cx="12190413" cy="4298400"/>
          </a:xfr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p>
        </p:txBody>
      </p:sp>
      <p:sp>
        <p:nvSpPr>
          <p:cNvPr id="8" name="Text"/>
          <p:cNvSpPr>
            <a:spLocks noGrp="1"/>
          </p:cNvSpPr>
          <p:nvPr>
            <p:ph type="body" sz="quarter" idx="18" hasCustomPrompt="1"/>
          </p:nvPr>
        </p:nvSpPr>
        <p:spPr bwMode="gray">
          <a:xfrm>
            <a:off x="-2" y="1512000"/>
            <a:ext cx="7247169" cy="4298400"/>
          </a:xfrm>
          <a:custGeom>
            <a:avLst/>
            <a:gdLst>
              <a:gd name="connsiteX0" fmla="*/ 0 w 5688000"/>
              <a:gd name="connsiteY0" fmla="*/ 4298400 h 4298400"/>
              <a:gd name="connsiteX1" fmla="*/ 0 w 5688000"/>
              <a:gd name="connsiteY1" fmla="*/ 0 h 4298400"/>
              <a:gd name="connsiteX2" fmla="*/ 5688000 w 5688000"/>
              <a:gd name="connsiteY2" fmla="*/ 0 h 4298400"/>
              <a:gd name="connsiteX3" fmla="*/ 5688000 w 5688000"/>
              <a:gd name="connsiteY3" fmla="*/ 4298400 h 4298400"/>
              <a:gd name="connsiteX4" fmla="*/ 0 w 5688000"/>
              <a:gd name="connsiteY4" fmla="*/ 4298400 h 4298400"/>
              <a:gd name="connsiteX0" fmla="*/ 0 w 7469908"/>
              <a:gd name="connsiteY0" fmla="*/ 4310123 h 4310123"/>
              <a:gd name="connsiteX1" fmla="*/ 0 w 7469908"/>
              <a:gd name="connsiteY1" fmla="*/ 11723 h 4310123"/>
              <a:gd name="connsiteX2" fmla="*/ 7469908 w 7469908"/>
              <a:gd name="connsiteY2" fmla="*/ 0 h 4310123"/>
              <a:gd name="connsiteX3" fmla="*/ 5688000 w 7469908"/>
              <a:gd name="connsiteY3" fmla="*/ 4310123 h 4310123"/>
              <a:gd name="connsiteX4" fmla="*/ 0 w 7469908"/>
              <a:gd name="connsiteY4" fmla="*/ 4310123 h 4310123"/>
              <a:gd name="connsiteX0" fmla="*/ 0 w 7270616"/>
              <a:gd name="connsiteY0" fmla="*/ 4310123 h 4310123"/>
              <a:gd name="connsiteX1" fmla="*/ 0 w 7270616"/>
              <a:gd name="connsiteY1" fmla="*/ 11723 h 4310123"/>
              <a:gd name="connsiteX2" fmla="*/ 7270616 w 7270616"/>
              <a:gd name="connsiteY2" fmla="*/ 0 h 4310123"/>
              <a:gd name="connsiteX3" fmla="*/ 5688000 w 7270616"/>
              <a:gd name="connsiteY3" fmla="*/ 4310123 h 4310123"/>
              <a:gd name="connsiteX4" fmla="*/ 0 w 7270616"/>
              <a:gd name="connsiteY4" fmla="*/ 4310123 h 4310123"/>
              <a:gd name="connsiteX0" fmla="*/ 0 w 7270616"/>
              <a:gd name="connsiteY0" fmla="*/ 4298400 h 4298400"/>
              <a:gd name="connsiteX1" fmla="*/ 0 w 7270616"/>
              <a:gd name="connsiteY1" fmla="*/ 0 h 4298400"/>
              <a:gd name="connsiteX2" fmla="*/ 7270616 w 7270616"/>
              <a:gd name="connsiteY2" fmla="*/ 398584 h 4298400"/>
              <a:gd name="connsiteX3" fmla="*/ 5688000 w 7270616"/>
              <a:gd name="connsiteY3" fmla="*/ 4298400 h 4298400"/>
              <a:gd name="connsiteX4" fmla="*/ 0 w 7270616"/>
              <a:gd name="connsiteY4" fmla="*/ 4298400 h 4298400"/>
              <a:gd name="connsiteX0" fmla="*/ 0 w 7247169"/>
              <a:gd name="connsiteY0" fmla="*/ 4298400 h 4298400"/>
              <a:gd name="connsiteX1" fmla="*/ 0 w 7247169"/>
              <a:gd name="connsiteY1" fmla="*/ 0 h 4298400"/>
              <a:gd name="connsiteX2" fmla="*/ 7247169 w 7247169"/>
              <a:gd name="connsiteY2" fmla="*/ 0 h 4298400"/>
              <a:gd name="connsiteX3" fmla="*/ 5688000 w 7247169"/>
              <a:gd name="connsiteY3" fmla="*/ 4298400 h 4298400"/>
              <a:gd name="connsiteX4" fmla="*/ 0 w 7247169"/>
              <a:gd name="connsiteY4" fmla="*/ 4298400 h 429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7169" h="4298400">
                <a:moveTo>
                  <a:pt x="0" y="4298400"/>
                </a:moveTo>
                <a:lnTo>
                  <a:pt x="0" y="0"/>
                </a:lnTo>
                <a:lnTo>
                  <a:pt x="7247169" y="0"/>
                </a:lnTo>
                <a:lnTo>
                  <a:pt x="5688000" y="4298400"/>
                </a:lnTo>
                <a:lnTo>
                  <a:pt x="0" y="4298400"/>
                </a:lnTo>
                <a:close/>
              </a:path>
            </a:pathLst>
          </a:custGeom>
          <a:solidFill>
            <a:srgbClr val="2FAE7A"/>
          </a:solidFill>
          <a:ln>
            <a:noFill/>
          </a:ln>
        </p:spPr>
        <p:txBody>
          <a:bodyPr lIns="540000" tIns="360000" rIns="360000" bIns="360000"/>
          <a:lstStyle>
            <a:lvl1pPr marL="0" indent="0">
              <a:buNone/>
              <a:defRPr sz="2000">
                <a:solidFill>
                  <a:schemeClr val="bg1"/>
                </a:solidFill>
              </a:defRPr>
            </a:lvl1pPr>
            <a:lvl2pPr marL="450000" indent="0">
              <a:buNone/>
              <a:defRPr sz="1800">
                <a:solidFill>
                  <a:schemeClr val="bg1"/>
                </a:solidFill>
              </a:defRPr>
            </a:lvl2pPr>
            <a:lvl3pPr marL="810000" indent="0">
              <a:buNone/>
              <a:defRPr sz="1600">
                <a:solidFill>
                  <a:schemeClr val="bg1"/>
                </a:solidFill>
              </a:defRPr>
            </a:lvl3pPr>
            <a:lvl4pPr marL="1170000" indent="0">
              <a:buNone/>
              <a:defRPr sz="1400">
                <a:solidFill>
                  <a:schemeClr val="bg1"/>
                </a:solidFill>
              </a:defRPr>
            </a:lvl4pPr>
            <a:lvl5pPr marL="1530000" indent="0">
              <a:buNone/>
              <a:defRPr sz="1400">
                <a:solidFill>
                  <a:schemeClr val="bg1"/>
                </a:solidFill>
              </a:defRPr>
            </a:lvl5pPr>
          </a:lstStyle>
          <a:p>
            <a:pPr lvl="0"/>
            <a:r>
              <a:rPr lang="de-DE" noProof="0"/>
              <a:t>Textmasterformat bearbeiten</a:t>
            </a:r>
          </a:p>
        </p:txBody>
      </p:sp>
      <p:sp>
        <p:nvSpPr>
          <p:cNvPr id="3" name="Titel 2">
            <a:extLst>
              <a:ext uri="{FF2B5EF4-FFF2-40B4-BE49-F238E27FC236}">
                <a16:creationId xmlns:a16="http://schemas.microsoft.com/office/drawing/2014/main" id="{D25AD25B-2EEC-464E-A6D3-CD276188EF2D}"/>
              </a:ext>
            </a:extLst>
          </p:cNvPr>
          <p:cNvSpPr>
            <a:spLocks noGrp="1"/>
          </p:cNvSpPr>
          <p:nvPr>
            <p:ph type="title" hasCustomPrompt="1"/>
          </p:nvPr>
        </p:nvSpPr>
        <p:spPr/>
        <p:txBody>
          <a:bodyPr/>
          <a:lstStyle>
            <a:lvl1pPr marL="0" indent="0">
              <a:buNone/>
              <a:defRPr/>
            </a:lvl1pPr>
          </a:lstStyle>
          <a:p>
            <a:r>
              <a:rPr lang="de-DE"/>
              <a:t>Titelmasterformat bearbeiten</a:t>
            </a:r>
          </a:p>
        </p:txBody>
      </p:sp>
      <p:sp>
        <p:nvSpPr>
          <p:cNvPr id="2" name="Datumsplatzhalter 1"/>
          <p:cNvSpPr>
            <a:spLocks noGrp="1"/>
          </p:cNvSpPr>
          <p:nvPr>
            <p:ph type="dt" sz="half" idx="19"/>
          </p:nvPr>
        </p:nvSpPr>
        <p:spPr/>
        <p:txBody>
          <a:bodyPr/>
          <a:lstStyle/>
          <a:p>
            <a:fld id="{4680A733-F83D-4D19-AF27-7B0B870C8599}" type="datetime1">
              <a:rPr lang="de-DE" noProof="0" smtClean="0"/>
              <a:t>15.01.2025</a:t>
            </a:fld>
            <a:endParaRPr lang="de-DE" noProof="0"/>
          </a:p>
        </p:txBody>
      </p:sp>
      <p:sp>
        <p:nvSpPr>
          <p:cNvPr id="7" name="Fußzeilenplatzhalter 6"/>
          <p:cNvSpPr>
            <a:spLocks noGrp="1"/>
          </p:cNvSpPr>
          <p:nvPr>
            <p:ph type="ftr" sz="quarter" idx="20"/>
          </p:nvPr>
        </p:nvSpPr>
        <p:spPr/>
        <p:txBody>
          <a:bodyPr/>
          <a:lstStyle/>
          <a:p>
            <a:r>
              <a:rPr lang="de-DE" noProof="0"/>
              <a:t>FZI Forschungszentrum Informatik</a:t>
            </a:r>
          </a:p>
        </p:txBody>
      </p:sp>
      <p:sp>
        <p:nvSpPr>
          <p:cNvPr id="9" name="Foliennummernplatzhalter 8"/>
          <p:cNvSpPr>
            <a:spLocks noGrp="1"/>
          </p:cNvSpPr>
          <p:nvPr>
            <p:ph type="sldNum" sz="quarter" idx="21"/>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2073070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el">
    <p:spTree>
      <p:nvGrpSpPr>
        <p:cNvPr id="1" name=""/>
        <p:cNvGrpSpPr/>
        <p:nvPr/>
      </p:nvGrpSpPr>
      <p:grpSpPr>
        <a:xfrm>
          <a:off x="0" y="0"/>
          <a:ext cx="0" cy="0"/>
          <a:chOff x="0" y="0"/>
          <a:chExt cx="0" cy="0"/>
        </a:xfrm>
      </p:grpSpPr>
      <p:sp>
        <p:nvSpPr>
          <p:cNvPr id="8" name="Bildplatzhalter 2"/>
          <p:cNvSpPr>
            <a:spLocks noGrp="1"/>
          </p:cNvSpPr>
          <p:nvPr>
            <p:ph type="pic" sz="quarter" idx="16"/>
          </p:nvPr>
        </p:nvSpPr>
        <p:spPr bwMode="gray">
          <a:xfrm>
            <a:off x="3503997" y="-10885"/>
            <a:ext cx="8741226" cy="6912883"/>
          </a:xfrm>
          <a:custGeom>
            <a:avLst/>
            <a:gdLst>
              <a:gd name="connsiteX0" fmla="*/ 0 w 4942342"/>
              <a:gd name="connsiteY0" fmla="*/ 1567996 h 1567996"/>
              <a:gd name="connsiteX1" fmla="*/ 391999 w 4942342"/>
              <a:gd name="connsiteY1" fmla="*/ 0 h 1567996"/>
              <a:gd name="connsiteX2" fmla="*/ 4550343 w 4942342"/>
              <a:gd name="connsiteY2" fmla="*/ 0 h 1567996"/>
              <a:gd name="connsiteX3" fmla="*/ 4942342 w 4942342"/>
              <a:gd name="connsiteY3" fmla="*/ 1567996 h 1567996"/>
              <a:gd name="connsiteX4" fmla="*/ 0 w 4942342"/>
              <a:gd name="connsiteY4" fmla="*/ 1567996 h 1567996"/>
              <a:gd name="connsiteX0" fmla="*/ 0 w 4942342"/>
              <a:gd name="connsiteY0" fmla="*/ 1578882 h 1578882"/>
              <a:gd name="connsiteX1" fmla="*/ 391999 w 4942342"/>
              <a:gd name="connsiteY1" fmla="*/ 10886 h 1578882"/>
              <a:gd name="connsiteX2" fmla="*/ 3233171 w 4942342"/>
              <a:gd name="connsiteY2" fmla="*/ 0 h 1578882"/>
              <a:gd name="connsiteX3" fmla="*/ 4942342 w 4942342"/>
              <a:gd name="connsiteY3" fmla="*/ 1578882 h 1578882"/>
              <a:gd name="connsiteX4" fmla="*/ 0 w 4942342"/>
              <a:gd name="connsiteY4" fmla="*/ 1578882 h 1578882"/>
              <a:gd name="connsiteX0" fmla="*/ 0 w 4082371"/>
              <a:gd name="connsiteY0" fmla="*/ 1578882 h 1600654"/>
              <a:gd name="connsiteX1" fmla="*/ 391999 w 4082371"/>
              <a:gd name="connsiteY1" fmla="*/ 10886 h 1600654"/>
              <a:gd name="connsiteX2" fmla="*/ 3233171 w 4082371"/>
              <a:gd name="connsiteY2" fmla="*/ 0 h 1600654"/>
              <a:gd name="connsiteX3" fmla="*/ 4082371 w 4082371"/>
              <a:gd name="connsiteY3" fmla="*/ 1600654 h 1600654"/>
              <a:gd name="connsiteX4" fmla="*/ 0 w 4082371"/>
              <a:gd name="connsiteY4" fmla="*/ 1578882 h 1600654"/>
              <a:gd name="connsiteX0" fmla="*/ 0 w 4082371"/>
              <a:gd name="connsiteY0" fmla="*/ 6869339 h 6891111"/>
              <a:gd name="connsiteX1" fmla="*/ 113 w 4082371"/>
              <a:gd name="connsiteY1" fmla="*/ 0 h 6891111"/>
              <a:gd name="connsiteX2" fmla="*/ 3233171 w 4082371"/>
              <a:gd name="connsiteY2" fmla="*/ 5290457 h 6891111"/>
              <a:gd name="connsiteX3" fmla="*/ 4082371 w 4082371"/>
              <a:gd name="connsiteY3" fmla="*/ 6891111 h 6891111"/>
              <a:gd name="connsiteX4" fmla="*/ 0 w 4082371"/>
              <a:gd name="connsiteY4" fmla="*/ 6869339 h 6891111"/>
              <a:gd name="connsiteX0" fmla="*/ 0 w 7413285"/>
              <a:gd name="connsiteY0" fmla="*/ 6869339 h 6891111"/>
              <a:gd name="connsiteX1" fmla="*/ 113 w 7413285"/>
              <a:gd name="connsiteY1" fmla="*/ 0 h 6891111"/>
              <a:gd name="connsiteX2" fmla="*/ 7413285 w 7413285"/>
              <a:gd name="connsiteY2" fmla="*/ 0 h 6891111"/>
              <a:gd name="connsiteX3" fmla="*/ 4082371 w 7413285"/>
              <a:gd name="connsiteY3" fmla="*/ 6891111 h 6891111"/>
              <a:gd name="connsiteX4" fmla="*/ 0 w 7413285"/>
              <a:gd name="connsiteY4" fmla="*/ 6869339 h 6891111"/>
              <a:gd name="connsiteX0" fmla="*/ 0 w 8229600"/>
              <a:gd name="connsiteY0" fmla="*/ 6869339 h 6891111"/>
              <a:gd name="connsiteX1" fmla="*/ 113 w 8229600"/>
              <a:gd name="connsiteY1" fmla="*/ 0 h 6891111"/>
              <a:gd name="connsiteX2" fmla="*/ 8229600 w 8229600"/>
              <a:gd name="connsiteY2" fmla="*/ 45719 h 6891111"/>
              <a:gd name="connsiteX3" fmla="*/ 4082371 w 8229600"/>
              <a:gd name="connsiteY3" fmla="*/ 6891111 h 6891111"/>
              <a:gd name="connsiteX4" fmla="*/ 0 w 8229600"/>
              <a:gd name="connsiteY4" fmla="*/ 6869339 h 6891111"/>
              <a:gd name="connsiteX0" fmla="*/ 0 w 8229600"/>
              <a:gd name="connsiteY0" fmla="*/ 6869339 h 6891112"/>
              <a:gd name="connsiteX1" fmla="*/ 113 w 8229600"/>
              <a:gd name="connsiteY1" fmla="*/ 0 h 6891112"/>
              <a:gd name="connsiteX2" fmla="*/ 8229600 w 8229600"/>
              <a:gd name="connsiteY2" fmla="*/ 45719 h 6891112"/>
              <a:gd name="connsiteX3" fmla="*/ 5159828 w 8229600"/>
              <a:gd name="connsiteY3" fmla="*/ 6891112 h 6891112"/>
              <a:gd name="connsiteX4" fmla="*/ 0 w 8229600"/>
              <a:gd name="connsiteY4" fmla="*/ 6869339 h 6891112"/>
              <a:gd name="connsiteX0" fmla="*/ 0 w 12224657"/>
              <a:gd name="connsiteY0" fmla="*/ 6869339 h 6923769"/>
              <a:gd name="connsiteX1" fmla="*/ 113 w 12224657"/>
              <a:gd name="connsiteY1" fmla="*/ 0 h 6923769"/>
              <a:gd name="connsiteX2" fmla="*/ 8229600 w 12224657"/>
              <a:gd name="connsiteY2" fmla="*/ 45719 h 6923769"/>
              <a:gd name="connsiteX3" fmla="*/ 12224657 w 12224657"/>
              <a:gd name="connsiteY3" fmla="*/ 6923769 h 6923769"/>
              <a:gd name="connsiteX4" fmla="*/ 0 w 12224657"/>
              <a:gd name="connsiteY4" fmla="*/ 6869339 h 6923769"/>
              <a:gd name="connsiteX0" fmla="*/ 0 w 12224657"/>
              <a:gd name="connsiteY0" fmla="*/ 6869339 h 6923769"/>
              <a:gd name="connsiteX1" fmla="*/ 113 w 12224657"/>
              <a:gd name="connsiteY1" fmla="*/ 0 h 6923769"/>
              <a:gd name="connsiteX2" fmla="*/ 8229600 w 12224657"/>
              <a:gd name="connsiteY2" fmla="*/ 45719 h 6923769"/>
              <a:gd name="connsiteX3" fmla="*/ 12224657 w 12224657"/>
              <a:gd name="connsiteY3" fmla="*/ 6923769 h 6923769"/>
              <a:gd name="connsiteX4" fmla="*/ 0 w 12224657"/>
              <a:gd name="connsiteY4" fmla="*/ 6869339 h 6923769"/>
              <a:gd name="connsiteX0" fmla="*/ 0 w 12224657"/>
              <a:gd name="connsiteY0" fmla="*/ 6858453 h 6912883"/>
              <a:gd name="connsiteX1" fmla="*/ 5388541 w 12224657"/>
              <a:gd name="connsiteY1" fmla="*/ 0 h 6912883"/>
              <a:gd name="connsiteX2" fmla="*/ 8229600 w 12224657"/>
              <a:gd name="connsiteY2" fmla="*/ 34833 h 6912883"/>
              <a:gd name="connsiteX3" fmla="*/ 12224657 w 12224657"/>
              <a:gd name="connsiteY3" fmla="*/ 6912883 h 6912883"/>
              <a:gd name="connsiteX4" fmla="*/ 0 w 12224657"/>
              <a:gd name="connsiteY4" fmla="*/ 6858453 h 6912883"/>
              <a:gd name="connsiteX0" fmla="*/ 0 w 12224657"/>
              <a:gd name="connsiteY0" fmla="*/ 6858453 h 6912883"/>
              <a:gd name="connsiteX1" fmla="*/ 5388541 w 12224657"/>
              <a:gd name="connsiteY1" fmla="*/ 0 h 6912883"/>
              <a:gd name="connsiteX2" fmla="*/ 8229600 w 12224657"/>
              <a:gd name="connsiteY2" fmla="*/ 34833 h 6912883"/>
              <a:gd name="connsiteX3" fmla="*/ 12224657 w 12224657"/>
              <a:gd name="connsiteY3" fmla="*/ 6912883 h 6912883"/>
              <a:gd name="connsiteX4" fmla="*/ 0 w 12224657"/>
              <a:gd name="connsiteY4" fmla="*/ 6858453 h 6912883"/>
              <a:gd name="connsiteX0" fmla="*/ 0 w 9372600"/>
              <a:gd name="connsiteY0" fmla="*/ 6945538 h 6945538"/>
              <a:gd name="connsiteX1" fmla="*/ 2536484 w 9372600"/>
              <a:gd name="connsiteY1" fmla="*/ 0 h 6945538"/>
              <a:gd name="connsiteX2" fmla="*/ 5377543 w 9372600"/>
              <a:gd name="connsiteY2" fmla="*/ 34833 h 6945538"/>
              <a:gd name="connsiteX3" fmla="*/ 9372600 w 9372600"/>
              <a:gd name="connsiteY3" fmla="*/ 6912883 h 6945538"/>
              <a:gd name="connsiteX4" fmla="*/ 0 w 9372600"/>
              <a:gd name="connsiteY4" fmla="*/ 6945538 h 6945538"/>
              <a:gd name="connsiteX0" fmla="*/ 0 w 9372600"/>
              <a:gd name="connsiteY0" fmla="*/ 6965133 h 6965133"/>
              <a:gd name="connsiteX1" fmla="*/ 2536484 w 9372600"/>
              <a:gd name="connsiteY1" fmla="*/ 19595 h 6965133"/>
              <a:gd name="connsiteX2" fmla="*/ 8730343 w 9372600"/>
              <a:gd name="connsiteY2" fmla="*/ 0 h 6965133"/>
              <a:gd name="connsiteX3" fmla="*/ 9372600 w 9372600"/>
              <a:gd name="connsiteY3" fmla="*/ 6932478 h 6965133"/>
              <a:gd name="connsiteX4" fmla="*/ 0 w 9372600"/>
              <a:gd name="connsiteY4" fmla="*/ 6965133 h 6965133"/>
              <a:gd name="connsiteX0" fmla="*/ 0 w 8730343"/>
              <a:gd name="connsiteY0" fmla="*/ 6965133 h 7128421"/>
              <a:gd name="connsiteX1" fmla="*/ 2536484 w 8730343"/>
              <a:gd name="connsiteY1" fmla="*/ 19595 h 7128421"/>
              <a:gd name="connsiteX2" fmla="*/ 8730343 w 8730343"/>
              <a:gd name="connsiteY2" fmla="*/ 0 h 7128421"/>
              <a:gd name="connsiteX3" fmla="*/ 6727371 w 8730343"/>
              <a:gd name="connsiteY3" fmla="*/ 7128421 h 7128421"/>
              <a:gd name="connsiteX4" fmla="*/ 0 w 8730343"/>
              <a:gd name="connsiteY4" fmla="*/ 6965133 h 7128421"/>
              <a:gd name="connsiteX0" fmla="*/ 0 w 8762999"/>
              <a:gd name="connsiteY0" fmla="*/ 6965133 h 6965133"/>
              <a:gd name="connsiteX1" fmla="*/ 2536484 w 8762999"/>
              <a:gd name="connsiteY1" fmla="*/ 19595 h 6965133"/>
              <a:gd name="connsiteX2" fmla="*/ 8730343 w 8762999"/>
              <a:gd name="connsiteY2" fmla="*/ 0 h 6965133"/>
              <a:gd name="connsiteX3" fmla="*/ 8762999 w 8762999"/>
              <a:gd name="connsiteY3" fmla="*/ 6910707 h 6965133"/>
              <a:gd name="connsiteX4" fmla="*/ 0 w 8762999"/>
              <a:gd name="connsiteY4" fmla="*/ 6965133 h 6965133"/>
              <a:gd name="connsiteX0" fmla="*/ 0 w 8730341"/>
              <a:gd name="connsiteY0" fmla="*/ 6899819 h 6910707"/>
              <a:gd name="connsiteX1" fmla="*/ 2503826 w 8730341"/>
              <a:gd name="connsiteY1" fmla="*/ 19595 h 6910707"/>
              <a:gd name="connsiteX2" fmla="*/ 8697685 w 8730341"/>
              <a:gd name="connsiteY2" fmla="*/ 0 h 6910707"/>
              <a:gd name="connsiteX3" fmla="*/ 8730341 w 8730341"/>
              <a:gd name="connsiteY3" fmla="*/ 6910707 h 6910707"/>
              <a:gd name="connsiteX4" fmla="*/ 0 w 8730341"/>
              <a:gd name="connsiteY4" fmla="*/ 6899819 h 6910707"/>
              <a:gd name="connsiteX0" fmla="*/ 0 w 8741226"/>
              <a:gd name="connsiteY0" fmla="*/ 6899819 h 6910707"/>
              <a:gd name="connsiteX1" fmla="*/ 2503826 w 8741226"/>
              <a:gd name="connsiteY1" fmla="*/ 19595 h 6910707"/>
              <a:gd name="connsiteX2" fmla="*/ 8697685 w 8741226"/>
              <a:gd name="connsiteY2" fmla="*/ 0 h 6910707"/>
              <a:gd name="connsiteX3" fmla="*/ 8741226 w 8741226"/>
              <a:gd name="connsiteY3" fmla="*/ 6910707 h 6910707"/>
              <a:gd name="connsiteX4" fmla="*/ 0 w 8741226"/>
              <a:gd name="connsiteY4" fmla="*/ 6899819 h 6910707"/>
              <a:gd name="connsiteX0" fmla="*/ 0 w 8741226"/>
              <a:gd name="connsiteY0" fmla="*/ 6899819 h 6910707"/>
              <a:gd name="connsiteX1" fmla="*/ 2503826 w 8741226"/>
              <a:gd name="connsiteY1" fmla="*/ 19595 h 6910707"/>
              <a:gd name="connsiteX2" fmla="*/ 8708570 w 8741226"/>
              <a:gd name="connsiteY2" fmla="*/ 0 h 6910707"/>
              <a:gd name="connsiteX3" fmla="*/ 8741226 w 8741226"/>
              <a:gd name="connsiteY3" fmla="*/ 6910707 h 6910707"/>
              <a:gd name="connsiteX4" fmla="*/ 0 w 8741226"/>
              <a:gd name="connsiteY4" fmla="*/ 6899819 h 6910707"/>
              <a:gd name="connsiteX0" fmla="*/ 0 w 8741226"/>
              <a:gd name="connsiteY0" fmla="*/ 6901995 h 6912883"/>
              <a:gd name="connsiteX1" fmla="*/ 2503826 w 8741226"/>
              <a:gd name="connsiteY1" fmla="*/ 0 h 6912883"/>
              <a:gd name="connsiteX2" fmla="*/ 8708570 w 8741226"/>
              <a:gd name="connsiteY2" fmla="*/ 2176 h 6912883"/>
              <a:gd name="connsiteX3" fmla="*/ 8741226 w 8741226"/>
              <a:gd name="connsiteY3" fmla="*/ 6912883 h 6912883"/>
              <a:gd name="connsiteX4" fmla="*/ 0 w 8741226"/>
              <a:gd name="connsiteY4" fmla="*/ 6901995 h 6912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1226" h="6912883">
                <a:moveTo>
                  <a:pt x="0" y="6901995"/>
                </a:moveTo>
                <a:lnTo>
                  <a:pt x="2503826" y="0"/>
                </a:lnTo>
                <a:lnTo>
                  <a:pt x="8708570" y="2176"/>
                </a:lnTo>
                <a:lnTo>
                  <a:pt x="8741226" y="6912883"/>
                </a:lnTo>
                <a:lnTo>
                  <a:pt x="0" y="6901995"/>
                </a:lnTo>
                <a:close/>
              </a:path>
            </a:pathLst>
          </a:custGeom>
          <a:solidFill>
            <a:schemeClr val="bg1">
              <a:lumMod val="85000"/>
            </a:schemeClr>
          </a:solidFill>
        </p:spPr>
        <p:txBody>
          <a:bodyPr/>
          <a:lstStyle>
            <a:lvl1pPr marL="0" indent="0">
              <a:buNone/>
              <a:defRPr>
                <a:solidFill>
                  <a:schemeClr val="bg1">
                    <a:lumMod val="85000"/>
                  </a:schemeClr>
                </a:solidFill>
              </a:defRPr>
            </a:lvl1pPr>
          </a:lstStyle>
          <a:p>
            <a:endParaRPr lang="de-DE"/>
          </a:p>
        </p:txBody>
      </p:sp>
      <p:sp>
        <p:nvSpPr>
          <p:cNvPr id="10" name="Trennstrich"/>
          <p:cNvSpPr/>
          <p:nvPr userDrawn="1"/>
        </p:nvSpPr>
        <p:spPr>
          <a:xfrm>
            <a:off x="639159" y="1429733"/>
            <a:ext cx="930593" cy="5111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de-DE" err="1"/>
          </a:p>
        </p:txBody>
      </p:sp>
      <p:sp>
        <p:nvSpPr>
          <p:cNvPr id="9" name="Textplatzhalter 1"/>
          <p:cNvSpPr>
            <a:spLocks noGrp="1"/>
          </p:cNvSpPr>
          <p:nvPr>
            <p:ph type="body" sz="quarter" idx="13"/>
          </p:nvPr>
        </p:nvSpPr>
        <p:spPr>
          <a:xfrm>
            <a:off x="639159" y="763789"/>
            <a:ext cx="4155032" cy="420670"/>
          </a:xfrm>
        </p:spPr>
        <p:txBody>
          <a:bodyPr/>
          <a:lstStyle>
            <a:lvl1pPr marL="0" indent="0">
              <a:buNone/>
              <a:defRPr sz="2000">
                <a:solidFill>
                  <a:schemeClr val="accent2"/>
                </a:solidFill>
              </a:defRPr>
            </a:lvl1pPr>
          </a:lstStyle>
          <a:p>
            <a:r>
              <a:rPr lang="de-DE">
                <a:solidFill>
                  <a:schemeClr val="accent1"/>
                </a:solidFill>
              </a:rPr>
              <a:t>FZI Forschungszentrum Informatik</a:t>
            </a:r>
          </a:p>
        </p:txBody>
      </p:sp>
      <p:sp>
        <p:nvSpPr>
          <p:cNvPr id="7" name="Titel 1"/>
          <p:cNvSpPr>
            <a:spLocks noGrp="1"/>
          </p:cNvSpPr>
          <p:nvPr>
            <p:ph type="title" hasCustomPrompt="1"/>
          </p:nvPr>
        </p:nvSpPr>
        <p:spPr>
          <a:xfrm>
            <a:off x="639159" y="1726123"/>
            <a:ext cx="3411548" cy="2871513"/>
          </a:xfrm>
        </p:spPr>
        <p:txBody>
          <a:bodyPr/>
          <a:lstStyle>
            <a:lvl1pPr marL="0" indent="0">
              <a:buClr>
                <a:srgbClr val="0E2356"/>
              </a:buClr>
              <a:buSzPct val="110000"/>
              <a:buFont typeface="Source Sans Pro SemiBold" panose="020B0603030403020204" pitchFamily="34" charset="0"/>
              <a:buNone/>
              <a:defRPr sz="4400" b="1" baseline="0">
                <a:solidFill>
                  <a:srgbClr val="0E2356"/>
                </a:solidFill>
                <a:latin typeface="Source Sans Pro Black" panose="020B0803030403020204" pitchFamily="34" charset="0"/>
                <a:ea typeface="Source Sans Pro Black" panose="020B0803030403020204" pitchFamily="34" charset="0"/>
              </a:defRPr>
            </a:lvl1pPr>
          </a:lstStyle>
          <a:p>
            <a:r>
              <a:rPr lang="de-DE"/>
              <a:t>TEXT</a:t>
            </a:r>
            <a:br>
              <a:rPr lang="de-DE"/>
            </a:br>
            <a:r>
              <a:rPr lang="de-DE"/>
              <a:t>STEHT </a:t>
            </a:r>
            <a:br>
              <a:rPr lang="de-DE"/>
            </a:br>
            <a:r>
              <a:rPr lang="de-DE"/>
              <a:t>HIER</a:t>
            </a:r>
          </a:p>
        </p:txBody>
      </p:sp>
      <p:sp>
        <p:nvSpPr>
          <p:cNvPr id="14" name="Bildplatzhalter 9">
            <a:extLst>
              <a:ext uri="{FF2B5EF4-FFF2-40B4-BE49-F238E27FC236}">
                <a16:creationId xmlns:a16="http://schemas.microsoft.com/office/drawing/2014/main" id="{4173E5ED-4A98-4A9D-BF40-3C40B45DF2EF}"/>
              </a:ext>
            </a:extLst>
          </p:cNvPr>
          <p:cNvSpPr>
            <a:spLocks noGrp="1"/>
          </p:cNvSpPr>
          <p:nvPr>
            <p:ph type="pic" sz="quarter" idx="15" hasCustomPrompt="1"/>
          </p:nvPr>
        </p:nvSpPr>
        <p:spPr bwMode="gray">
          <a:xfrm>
            <a:off x="-14470" y="5470681"/>
            <a:ext cx="11144815" cy="1457609"/>
          </a:xfrm>
          <a:custGeom>
            <a:avLst/>
            <a:gdLst>
              <a:gd name="connsiteX0" fmla="*/ 0 w 12189600"/>
              <a:gd name="connsiteY0" fmla="*/ 0 h 2383200"/>
              <a:gd name="connsiteX1" fmla="*/ 12189600 w 12189600"/>
              <a:gd name="connsiteY1" fmla="*/ 0 h 2383200"/>
              <a:gd name="connsiteX2" fmla="*/ 12189600 w 12189600"/>
              <a:gd name="connsiteY2" fmla="*/ 0 h 2383200"/>
              <a:gd name="connsiteX3" fmla="*/ 12189600 w 12189600"/>
              <a:gd name="connsiteY3" fmla="*/ 2383200 h 2383200"/>
              <a:gd name="connsiteX4" fmla="*/ 12189600 w 12189600"/>
              <a:gd name="connsiteY4" fmla="*/ 2383200 h 2383200"/>
              <a:gd name="connsiteX5" fmla="*/ 0 w 12189600"/>
              <a:gd name="connsiteY5" fmla="*/ 2383200 h 2383200"/>
              <a:gd name="connsiteX6" fmla="*/ 0 w 12189600"/>
              <a:gd name="connsiteY6" fmla="*/ 2383200 h 2383200"/>
              <a:gd name="connsiteX7" fmla="*/ 0 w 12189600"/>
              <a:gd name="connsiteY7" fmla="*/ 0 h 2383200"/>
              <a:gd name="connsiteX0" fmla="*/ 0 w 12189600"/>
              <a:gd name="connsiteY0" fmla="*/ 0 h 2383200"/>
              <a:gd name="connsiteX1" fmla="*/ 12189600 w 12189600"/>
              <a:gd name="connsiteY1" fmla="*/ 0 h 2383200"/>
              <a:gd name="connsiteX2" fmla="*/ 11709767 w 12189600"/>
              <a:gd name="connsiteY2" fmla="*/ 217284 h 2383200"/>
              <a:gd name="connsiteX3" fmla="*/ 12189600 w 12189600"/>
              <a:gd name="connsiteY3" fmla="*/ 2383200 h 2383200"/>
              <a:gd name="connsiteX4" fmla="*/ 12189600 w 12189600"/>
              <a:gd name="connsiteY4" fmla="*/ 2383200 h 2383200"/>
              <a:gd name="connsiteX5" fmla="*/ 0 w 12189600"/>
              <a:gd name="connsiteY5" fmla="*/ 2383200 h 2383200"/>
              <a:gd name="connsiteX6" fmla="*/ 0 w 12189600"/>
              <a:gd name="connsiteY6" fmla="*/ 2383200 h 2383200"/>
              <a:gd name="connsiteX7" fmla="*/ 0 w 12189600"/>
              <a:gd name="connsiteY7" fmla="*/ 0 h 2383200"/>
              <a:gd name="connsiteX0" fmla="*/ 0 w 12198654"/>
              <a:gd name="connsiteY0" fmla="*/ 0 h 2383200"/>
              <a:gd name="connsiteX1" fmla="*/ 12189600 w 12198654"/>
              <a:gd name="connsiteY1" fmla="*/ 0 h 2383200"/>
              <a:gd name="connsiteX2" fmla="*/ 12198654 w 12198654"/>
              <a:gd name="connsiteY2" fmla="*/ 1520983 h 2383200"/>
              <a:gd name="connsiteX3" fmla="*/ 12189600 w 12198654"/>
              <a:gd name="connsiteY3" fmla="*/ 2383200 h 2383200"/>
              <a:gd name="connsiteX4" fmla="*/ 12189600 w 12198654"/>
              <a:gd name="connsiteY4" fmla="*/ 2383200 h 2383200"/>
              <a:gd name="connsiteX5" fmla="*/ 0 w 12198654"/>
              <a:gd name="connsiteY5" fmla="*/ 2383200 h 2383200"/>
              <a:gd name="connsiteX6" fmla="*/ 0 w 12198654"/>
              <a:gd name="connsiteY6" fmla="*/ 2383200 h 2383200"/>
              <a:gd name="connsiteX7" fmla="*/ 0 w 12198654"/>
              <a:gd name="connsiteY7" fmla="*/ 0 h 2383200"/>
              <a:gd name="connsiteX0" fmla="*/ 0 w 12216761"/>
              <a:gd name="connsiteY0" fmla="*/ 0 h 2383200"/>
              <a:gd name="connsiteX1" fmla="*/ 12216761 w 12216761"/>
              <a:gd name="connsiteY1" fmla="*/ 1059255 h 2383200"/>
              <a:gd name="connsiteX2" fmla="*/ 12198654 w 12216761"/>
              <a:gd name="connsiteY2" fmla="*/ 1520983 h 2383200"/>
              <a:gd name="connsiteX3" fmla="*/ 12189600 w 12216761"/>
              <a:gd name="connsiteY3" fmla="*/ 2383200 h 2383200"/>
              <a:gd name="connsiteX4" fmla="*/ 12189600 w 12216761"/>
              <a:gd name="connsiteY4" fmla="*/ 2383200 h 2383200"/>
              <a:gd name="connsiteX5" fmla="*/ 0 w 12216761"/>
              <a:gd name="connsiteY5" fmla="*/ 2383200 h 2383200"/>
              <a:gd name="connsiteX6" fmla="*/ 0 w 12216761"/>
              <a:gd name="connsiteY6" fmla="*/ 2383200 h 2383200"/>
              <a:gd name="connsiteX7" fmla="*/ 0 w 12216761"/>
              <a:gd name="connsiteY7" fmla="*/ 0 h 2383200"/>
              <a:gd name="connsiteX0" fmla="*/ 0 w 12334456"/>
              <a:gd name="connsiteY0" fmla="*/ 0 h 2383200"/>
              <a:gd name="connsiteX1" fmla="*/ 12216761 w 12334456"/>
              <a:gd name="connsiteY1" fmla="*/ 1059255 h 2383200"/>
              <a:gd name="connsiteX2" fmla="*/ 12334456 w 12334456"/>
              <a:gd name="connsiteY2" fmla="*/ 2381062 h 2383200"/>
              <a:gd name="connsiteX3" fmla="*/ 12189600 w 12334456"/>
              <a:gd name="connsiteY3" fmla="*/ 2383200 h 2383200"/>
              <a:gd name="connsiteX4" fmla="*/ 12189600 w 12334456"/>
              <a:gd name="connsiteY4" fmla="*/ 2383200 h 2383200"/>
              <a:gd name="connsiteX5" fmla="*/ 0 w 12334456"/>
              <a:gd name="connsiteY5" fmla="*/ 2383200 h 2383200"/>
              <a:gd name="connsiteX6" fmla="*/ 0 w 12334456"/>
              <a:gd name="connsiteY6" fmla="*/ 2383200 h 2383200"/>
              <a:gd name="connsiteX7" fmla="*/ 0 w 12334456"/>
              <a:gd name="connsiteY7" fmla="*/ 0 h 2383200"/>
              <a:gd name="connsiteX0" fmla="*/ 0 w 12334456"/>
              <a:gd name="connsiteY0" fmla="*/ 0 h 2383200"/>
              <a:gd name="connsiteX1" fmla="*/ 11130345 w 12334456"/>
              <a:gd name="connsiteY1" fmla="*/ 1883120 h 2383200"/>
              <a:gd name="connsiteX2" fmla="*/ 12334456 w 12334456"/>
              <a:gd name="connsiteY2" fmla="*/ 2381062 h 2383200"/>
              <a:gd name="connsiteX3" fmla="*/ 12189600 w 12334456"/>
              <a:gd name="connsiteY3" fmla="*/ 2383200 h 2383200"/>
              <a:gd name="connsiteX4" fmla="*/ 12189600 w 12334456"/>
              <a:gd name="connsiteY4" fmla="*/ 2383200 h 2383200"/>
              <a:gd name="connsiteX5" fmla="*/ 0 w 12334456"/>
              <a:gd name="connsiteY5" fmla="*/ 2383200 h 2383200"/>
              <a:gd name="connsiteX6" fmla="*/ 0 w 12334456"/>
              <a:gd name="connsiteY6" fmla="*/ 2383200 h 2383200"/>
              <a:gd name="connsiteX7" fmla="*/ 0 w 12334456"/>
              <a:gd name="connsiteY7" fmla="*/ 0 h 2383200"/>
              <a:gd name="connsiteX0" fmla="*/ 0 w 12334456"/>
              <a:gd name="connsiteY0" fmla="*/ 0 h 2437521"/>
              <a:gd name="connsiteX1" fmla="*/ 11130345 w 12334456"/>
              <a:gd name="connsiteY1" fmla="*/ 1883120 h 2437521"/>
              <a:gd name="connsiteX2" fmla="*/ 12334456 w 12334456"/>
              <a:gd name="connsiteY2" fmla="*/ 2381062 h 2437521"/>
              <a:gd name="connsiteX3" fmla="*/ 12189600 w 12334456"/>
              <a:gd name="connsiteY3" fmla="*/ 2383200 h 2437521"/>
              <a:gd name="connsiteX4" fmla="*/ 10849688 w 12334456"/>
              <a:gd name="connsiteY4" fmla="*/ 2437521 h 2437521"/>
              <a:gd name="connsiteX5" fmla="*/ 0 w 12334456"/>
              <a:gd name="connsiteY5" fmla="*/ 2383200 h 2437521"/>
              <a:gd name="connsiteX6" fmla="*/ 0 w 12334456"/>
              <a:gd name="connsiteY6" fmla="*/ 2383200 h 2437521"/>
              <a:gd name="connsiteX7" fmla="*/ 0 w 12334456"/>
              <a:gd name="connsiteY7" fmla="*/ 0 h 2437521"/>
              <a:gd name="connsiteX0" fmla="*/ 0 w 12334456"/>
              <a:gd name="connsiteY0" fmla="*/ 0 h 2437521"/>
              <a:gd name="connsiteX1" fmla="*/ 220920 w 12334456"/>
              <a:gd name="connsiteY1" fmla="*/ 941559 h 2437521"/>
              <a:gd name="connsiteX2" fmla="*/ 12334456 w 12334456"/>
              <a:gd name="connsiteY2" fmla="*/ 2381062 h 2437521"/>
              <a:gd name="connsiteX3" fmla="*/ 12189600 w 12334456"/>
              <a:gd name="connsiteY3" fmla="*/ 2383200 h 2437521"/>
              <a:gd name="connsiteX4" fmla="*/ 10849688 w 12334456"/>
              <a:gd name="connsiteY4" fmla="*/ 2437521 h 2437521"/>
              <a:gd name="connsiteX5" fmla="*/ 0 w 12334456"/>
              <a:gd name="connsiteY5" fmla="*/ 2383200 h 2437521"/>
              <a:gd name="connsiteX6" fmla="*/ 0 w 12334456"/>
              <a:gd name="connsiteY6" fmla="*/ 2383200 h 2437521"/>
              <a:gd name="connsiteX7" fmla="*/ 0 w 12334456"/>
              <a:gd name="connsiteY7" fmla="*/ 0 h 2437521"/>
              <a:gd name="connsiteX0" fmla="*/ 0 w 12334456"/>
              <a:gd name="connsiteY0" fmla="*/ 796707 h 1495962"/>
              <a:gd name="connsiteX1" fmla="*/ 220920 w 12334456"/>
              <a:gd name="connsiteY1" fmla="*/ 0 h 1495962"/>
              <a:gd name="connsiteX2" fmla="*/ 12334456 w 12334456"/>
              <a:gd name="connsiteY2" fmla="*/ 1439503 h 1495962"/>
              <a:gd name="connsiteX3" fmla="*/ 12189600 w 12334456"/>
              <a:gd name="connsiteY3" fmla="*/ 1441641 h 1495962"/>
              <a:gd name="connsiteX4" fmla="*/ 10849688 w 12334456"/>
              <a:gd name="connsiteY4" fmla="*/ 1495962 h 1495962"/>
              <a:gd name="connsiteX5" fmla="*/ 0 w 12334456"/>
              <a:gd name="connsiteY5" fmla="*/ 1441641 h 1495962"/>
              <a:gd name="connsiteX6" fmla="*/ 0 w 12334456"/>
              <a:gd name="connsiteY6" fmla="*/ 1441641 h 1495962"/>
              <a:gd name="connsiteX7" fmla="*/ 0 w 12334456"/>
              <a:gd name="connsiteY7" fmla="*/ 796707 h 1495962"/>
              <a:gd name="connsiteX0" fmla="*/ 14470 w 12348926"/>
              <a:gd name="connsiteY0" fmla="*/ 742386 h 1441641"/>
              <a:gd name="connsiteX1" fmla="*/ 0 w 12348926"/>
              <a:gd name="connsiteY1" fmla="*/ 0 h 1441641"/>
              <a:gd name="connsiteX2" fmla="*/ 12348926 w 12348926"/>
              <a:gd name="connsiteY2" fmla="*/ 1385182 h 1441641"/>
              <a:gd name="connsiteX3" fmla="*/ 12204070 w 12348926"/>
              <a:gd name="connsiteY3" fmla="*/ 1387320 h 1441641"/>
              <a:gd name="connsiteX4" fmla="*/ 10864158 w 12348926"/>
              <a:gd name="connsiteY4" fmla="*/ 1441641 h 1441641"/>
              <a:gd name="connsiteX5" fmla="*/ 14470 w 12348926"/>
              <a:gd name="connsiteY5" fmla="*/ 1387320 h 1441641"/>
              <a:gd name="connsiteX6" fmla="*/ 14470 w 12348926"/>
              <a:gd name="connsiteY6" fmla="*/ 1387320 h 1441641"/>
              <a:gd name="connsiteX7" fmla="*/ 14470 w 12348926"/>
              <a:gd name="connsiteY7" fmla="*/ 742386 h 1441641"/>
              <a:gd name="connsiteX0" fmla="*/ 14470 w 12348926"/>
              <a:gd name="connsiteY0" fmla="*/ 742386 h 1441641"/>
              <a:gd name="connsiteX1" fmla="*/ 0 w 12348926"/>
              <a:gd name="connsiteY1" fmla="*/ 0 h 1441641"/>
              <a:gd name="connsiteX2" fmla="*/ 12348926 w 12348926"/>
              <a:gd name="connsiteY2" fmla="*/ 1385182 h 1441641"/>
              <a:gd name="connsiteX3" fmla="*/ 12204070 w 12348926"/>
              <a:gd name="connsiteY3" fmla="*/ 1387320 h 1441641"/>
              <a:gd name="connsiteX4" fmla="*/ 7840301 w 12348926"/>
              <a:gd name="connsiteY4" fmla="*/ 1441641 h 1441641"/>
              <a:gd name="connsiteX5" fmla="*/ 14470 w 12348926"/>
              <a:gd name="connsiteY5" fmla="*/ 1387320 h 1441641"/>
              <a:gd name="connsiteX6" fmla="*/ 14470 w 12348926"/>
              <a:gd name="connsiteY6" fmla="*/ 1387320 h 1441641"/>
              <a:gd name="connsiteX7" fmla="*/ 14470 w 12348926"/>
              <a:gd name="connsiteY7" fmla="*/ 742386 h 1441641"/>
              <a:gd name="connsiteX0" fmla="*/ 14470 w 12348926"/>
              <a:gd name="connsiteY0" fmla="*/ 742386 h 1441641"/>
              <a:gd name="connsiteX1" fmla="*/ 0 w 12348926"/>
              <a:gd name="connsiteY1" fmla="*/ 0 h 1441641"/>
              <a:gd name="connsiteX2" fmla="*/ 12348926 w 12348926"/>
              <a:gd name="connsiteY2" fmla="*/ 1385182 h 1441641"/>
              <a:gd name="connsiteX3" fmla="*/ 10185148 w 12348926"/>
              <a:gd name="connsiteY3" fmla="*/ 1441641 h 1441641"/>
              <a:gd name="connsiteX4" fmla="*/ 7840301 w 12348926"/>
              <a:gd name="connsiteY4" fmla="*/ 1441641 h 1441641"/>
              <a:gd name="connsiteX5" fmla="*/ 14470 w 12348926"/>
              <a:gd name="connsiteY5" fmla="*/ 1387320 h 1441641"/>
              <a:gd name="connsiteX6" fmla="*/ 14470 w 12348926"/>
              <a:gd name="connsiteY6" fmla="*/ 1387320 h 1441641"/>
              <a:gd name="connsiteX7" fmla="*/ 14470 w 12348926"/>
              <a:gd name="connsiteY7" fmla="*/ 742386 h 1441641"/>
              <a:gd name="connsiteX0" fmla="*/ 14470 w 11108601"/>
              <a:gd name="connsiteY0" fmla="*/ 742386 h 1457609"/>
              <a:gd name="connsiteX1" fmla="*/ 0 w 11108601"/>
              <a:gd name="connsiteY1" fmla="*/ 0 h 1457609"/>
              <a:gd name="connsiteX2" fmla="*/ 11108601 w 11108601"/>
              <a:gd name="connsiteY2" fmla="*/ 1457609 h 1457609"/>
              <a:gd name="connsiteX3" fmla="*/ 10185148 w 11108601"/>
              <a:gd name="connsiteY3" fmla="*/ 1441641 h 1457609"/>
              <a:gd name="connsiteX4" fmla="*/ 7840301 w 11108601"/>
              <a:gd name="connsiteY4" fmla="*/ 1441641 h 1457609"/>
              <a:gd name="connsiteX5" fmla="*/ 14470 w 11108601"/>
              <a:gd name="connsiteY5" fmla="*/ 1387320 h 1457609"/>
              <a:gd name="connsiteX6" fmla="*/ 14470 w 11108601"/>
              <a:gd name="connsiteY6" fmla="*/ 1387320 h 1457609"/>
              <a:gd name="connsiteX7" fmla="*/ 14470 w 11108601"/>
              <a:gd name="connsiteY7" fmla="*/ 742386 h 1457609"/>
              <a:gd name="connsiteX0" fmla="*/ 14470 w 11108601"/>
              <a:gd name="connsiteY0" fmla="*/ 742386 h 1457609"/>
              <a:gd name="connsiteX1" fmla="*/ 0 w 11108601"/>
              <a:gd name="connsiteY1" fmla="*/ 0 h 1457609"/>
              <a:gd name="connsiteX2" fmla="*/ 11108601 w 11108601"/>
              <a:gd name="connsiteY2" fmla="*/ 1457609 h 1457609"/>
              <a:gd name="connsiteX3" fmla="*/ 10185148 w 11108601"/>
              <a:gd name="connsiteY3" fmla="*/ 1441641 h 1457609"/>
              <a:gd name="connsiteX4" fmla="*/ 7840301 w 11108601"/>
              <a:gd name="connsiteY4" fmla="*/ 1441641 h 1457609"/>
              <a:gd name="connsiteX5" fmla="*/ 14470 w 11108601"/>
              <a:gd name="connsiteY5" fmla="*/ 1387320 h 1457609"/>
              <a:gd name="connsiteX6" fmla="*/ 14470 w 11108601"/>
              <a:gd name="connsiteY6" fmla="*/ 1387320 h 1457609"/>
              <a:gd name="connsiteX7" fmla="*/ 14470 w 11108601"/>
              <a:gd name="connsiteY7" fmla="*/ 742386 h 1457609"/>
              <a:gd name="connsiteX0" fmla="*/ 14470 w 11108601"/>
              <a:gd name="connsiteY0" fmla="*/ 742386 h 1704191"/>
              <a:gd name="connsiteX1" fmla="*/ 0 w 11108601"/>
              <a:gd name="connsiteY1" fmla="*/ 0 h 1704191"/>
              <a:gd name="connsiteX2" fmla="*/ 11108601 w 11108601"/>
              <a:gd name="connsiteY2" fmla="*/ 1457609 h 1704191"/>
              <a:gd name="connsiteX3" fmla="*/ 10230415 w 11108601"/>
              <a:gd name="connsiteY3" fmla="*/ 1704191 h 1704191"/>
              <a:gd name="connsiteX4" fmla="*/ 7840301 w 11108601"/>
              <a:gd name="connsiteY4" fmla="*/ 1441641 h 1704191"/>
              <a:gd name="connsiteX5" fmla="*/ 14470 w 11108601"/>
              <a:gd name="connsiteY5" fmla="*/ 1387320 h 1704191"/>
              <a:gd name="connsiteX6" fmla="*/ 14470 w 11108601"/>
              <a:gd name="connsiteY6" fmla="*/ 1387320 h 1704191"/>
              <a:gd name="connsiteX7" fmla="*/ 14470 w 11108601"/>
              <a:gd name="connsiteY7" fmla="*/ 742386 h 1704191"/>
              <a:gd name="connsiteX0" fmla="*/ 14470 w 11108601"/>
              <a:gd name="connsiteY0" fmla="*/ 742386 h 1468801"/>
              <a:gd name="connsiteX1" fmla="*/ 0 w 11108601"/>
              <a:gd name="connsiteY1" fmla="*/ 0 h 1468801"/>
              <a:gd name="connsiteX2" fmla="*/ 11108601 w 11108601"/>
              <a:gd name="connsiteY2" fmla="*/ 1457609 h 1468801"/>
              <a:gd name="connsiteX3" fmla="*/ 9297908 w 11108601"/>
              <a:gd name="connsiteY3" fmla="*/ 1468801 h 1468801"/>
              <a:gd name="connsiteX4" fmla="*/ 7840301 w 11108601"/>
              <a:gd name="connsiteY4" fmla="*/ 1441641 h 1468801"/>
              <a:gd name="connsiteX5" fmla="*/ 14470 w 11108601"/>
              <a:gd name="connsiteY5" fmla="*/ 1387320 h 1468801"/>
              <a:gd name="connsiteX6" fmla="*/ 14470 w 11108601"/>
              <a:gd name="connsiteY6" fmla="*/ 138732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297908 w 11108601"/>
              <a:gd name="connsiteY3" fmla="*/ 1468801 h 1468801"/>
              <a:gd name="connsiteX4" fmla="*/ 7731659 w 11108601"/>
              <a:gd name="connsiteY4" fmla="*/ 1459748 h 1468801"/>
              <a:gd name="connsiteX5" fmla="*/ 14470 w 11108601"/>
              <a:gd name="connsiteY5" fmla="*/ 1387320 h 1468801"/>
              <a:gd name="connsiteX6" fmla="*/ 14470 w 11108601"/>
              <a:gd name="connsiteY6" fmla="*/ 138732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297908 w 11108601"/>
              <a:gd name="connsiteY3" fmla="*/ 1468801 h 1468801"/>
              <a:gd name="connsiteX4" fmla="*/ 7731659 w 11108601"/>
              <a:gd name="connsiteY4" fmla="*/ 1459748 h 1468801"/>
              <a:gd name="connsiteX5" fmla="*/ 14470 w 11108601"/>
              <a:gd name="connsiteY5" fmla="*/ 1387320 h 1468801"/>
              <a:gd name="connsiteX6" fmla="*/ 14470 w 11108601"/>
              <a:gd name="connsiteY6" fmla="*/ 138732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297908 w 11108601"/>
              <a:gd name="connsiteY3" fmla="*/ 1468801 h 1468801"/>
              <a:gd name="connsiteX4" fmla="*/ 7731659 w 11108601"/>
              <a:gd name="connsiteY4" fmla="*/ 1459748 h 1468801"/>
              <a:gd name="connsiteX5" fmla="*/ 14470 w 11108601"/>
              <a:gd name="connsiteY5" fmla="*/ 1387320 h 1468801"/>
              <a:gd name="connsiteX6" fmla="*/ 14470 w 11108601"/>
              <a:gd name="connsiteY6" fmla="*/ 138732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352228 w 11108601"/>
              <a:gd name="connsiteY3" fmla="*/ 1468801 h 1468801"/>
              <a:gd name="connsiteX4" fmla="*/ 7731659 w 11108601"/>
              <a:gd name="connsiteY4" fmla="*/ 1459748 h 1468801"/>
              <a:gd name="connsiteX5" fmla="*/ 14470 w 11108601"/>
              <a:gd name="connsiteY5" fmla="*/ 1387320 h 1468801"/>
              <a:gd name="connsiteX6" fmla="*/ 14470 w 11108601"/>
              <a:gd name="connsiteY6" fmla="*/ 138732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352228 w 11108601"/>
              <a:gd name="connsiteY3" fmla="*/ 1468801 h 1468801"/>
              <a:gd name="connsiteX4" fmla="*/ 7731659 w 11108601"/>
              <a:gd name="connsiteY4" fmla="*/ 1459748 h 1468801"/>
              <a:gd name="connsiteX5" fmla="*/ 14470 w 11108601"/>
              <a:gd name="connsiteY5" fmla="*/ 1387320 h 1468801"/>
              <a:gd name="connsiteX6" fmla="*/ 23523 w 11108601"/>
              <a:gd name="connsiteY6" fmla="*/ 1414480 h 1468801"/>
              <a:gd name="connsiteX7" fmla="*/ 14470 w 11108601"/>
              <a:gd name="connsiteY7" fmla="*/ 742386 h 1468801"/>
              <a:gd name="connsiteX0" fmla="*/ 14470 w 11108601"/>
              <a:gd name="connsiteY0" fmla="*/ 742386 h 1468801"/>
              <a:gd name="connsiteX1" fmla="*/ 0 w 11108601"/>
              <a:gd name="connsiteY1" fmla="*/ 0 h 1468801"/>
              <a:gd name="connsiteX2" fmla="*/ 11108601 w 11108601"/>
              <a:gd name="connsiteY2" fmla="*/ 1457609 h 1468801"/>
              <a:gd name="connsiteX3" fmla="*/ 9352228 w 11108601"/>
              <a:gd name="connsiteY3" fmla="*/ 1468801 h 1468801"/>
              <a:gd name="connsiteX4" fmla="*/ 7776926 w 11108601"/>
              <a:gd name="connsiteY4" fmla="*/ 1432588 h 1468801"/>
              <a:gd name="connsiteX5" fmla="*/ 14470 w 11108601"/>
              <a:gd name="connsiteY5" fmla="*/ 1387320 h 1468801"/>
              <a:gd name="connsiteX6" fmla="*/ 23523 w 11108601"/>
              <a:gd name="connsiteY6" fmla="*/ 1414480 h 1468801"/>
              <a:gd name="connsiteX7" fmla="*/ 14470 w 11108601"/>
              <a:gd name="connsiteY7" fmla="*/ 742386 h 1468801"/>
              <a:gd name="connsiteX0" fmla="*/ 14470 w 11108601"/>
              <a:gd name="connsiteY0" fmla="*/ 742386 h 1457609"/>
              <a:gd name="connsiteX1" fmla="*/ 0 w 11108601"/>
              <a:gd name="connsiteY1" fmla="*/ 0 h 1457609"/>
              <a:gd name="connsiteX2" fmla="*/ 11108601 w 11108601"/>
              <a:gd name="connsiteY2" fmla="*/ 1457609 h 1457609"/>
              <a:gd name="connsiteX3" fmla="*/ 9415603 w 11108601"/>
              <a:gd name="connsiteY3" fmla="*/ 1441641 h 1457609"/>
              <a:gd name="connsiteX4" fmla="*/ 7776926 w 11108601"/>
              <a:gd name="connsiteY4" fmla="*/ 1432588 h 1457609"/>
              <a:gd name="connsiteX5" fmla="*/ 14470 w 11108601"/>
              <a:gd name="connsiteY5" fmla="*/ 1387320 h 1457609"/>
              <a:gd name="connsiteX6" fmla="*/ 23523 w 11108601"/>
              <a:gd name="connsiteY6" fmla="*/ 1414480 h 1457609"/>
              <a:gd name="connsiteX7" fmla="*/ 14470 w 11108601"/>
              <a:gd name="connsiteY7" fmla="*/ 742386 h 1457609"/>
              <a:gd name="connsiteX0" fmla="*/ 14470 w 11144815"/>
              <a:gd name="connsiteY0" fmla="*/ 742386 h 1457609"/>
              <a:gd name="connsiteX1" fmla="*/ 0 w 11144815"/>
              <a:gd name="connsiteY1" fmla="*/ 0 h 1457609"/>
              <a:gd name="connsiteX2" fmla="*/ 11144815 w 11144815"/>
              <a:gd name="connsiteY2" fmla="*/ 1457609 h 1457609"/>
              <a:gd name="connsiteX3" fmla="*/ 9415603 w 11144815"/>
              <a:gd name="connsiteY3" fmla="*/ 1441641 h 1457609"/>
              <a:gd name="connsiteX4" fmla="*/ 7776926 w 11144815"/>
              <a:gd name="connsiteY4" fmla="*/ 1432588 h 1457609"/>
              <a:gd name="connsiteX5" fmla="*/ 14470 w 11144815"/>
              <a:gd name="connsiteY5" fmla="*/ 1387320 h 1457609"/>
              <a:gd name="connsiteX6" fmla="*/ 23523 w 11144815"/>
              <a:gd name="connsiteY6" fmla="*/ 1414480 h 1457609"/>
              <a:gd name="connsiteX7" fmla="*/ 14470 w 11144815"/>
              <a:gd name="connsiteY7" fmla="*/ 742386 h 1457609"/>
              <a:gd name="connsiteX0" fmla="*/ 14470 w 11144815"/>
              <a:gd name="connsiteY0" fmla="*/ 742386 h 1457609"/>
              <a:gd name="connsiteX1" fmla="*/ 0 w 11144815"/>
              <a:gd name="connsiteY1" fmla="*/ 0 h 1457609"/>
              <a:gd name="connsiteX2" fmla="*/ 11144815 w 11144815"/>
              <a:gd name="connsiteY2" fmla="*/ 1457609 h 1457609"/>
              <a:gd name="connsiteX3" fmla="*/ 9415603 w 11144815"/>
              <a:gd name="connsiteY3" fmla="*/ 1441641 h 1457609"/>
              <a:gd name="connsiteX4" fmla="*/ 7776926 w 11144815"/>
              <a:gd name="connsiteY4" fmla="*/ 1432588 h 1457609"/>
              <a:gd name="connsiteX5" fmla="*/ 14470 w 11144815"/>
              <a:gd name="connsiteY5" fmla="*/ 1387320 h 1457609"/>
              <a:gd name="connsiteX6" fmla="*/ 14470 w 11144815"/>
              <a:gd name="connsiteY6" fmla="*/ 1106662 h 1457609"/>
              <a:gd name="connsiteX7" fmla="*/ 14470 w 11144815"/>
              <a:gd name="connsiteY7" fmla="*/ 742386 h 1457609"/>
              <a:gd name="connsiteX0" fmla="*/ 14470 w 11144815"/>
              <a:gd name="connsiteY0" fmla="*/ 742386 h 1457609"/>
              <a:gd name="connsiteX1" fmla="*/ 0 w 11144815"/>
              <a:gd name="connsiteY1" fmla="*/ 0 h 1457609"/>
              <a:gd name="connsiteX2" fmla="*/ 11144815 w 11144815"/>
              <a:gd name="connsiteY2" fmla="*/ 1457609 h 1457609"/>
              <a:gd name="connsiteX3" fmla="*/ 9415603 w 11144815"/>
              <a:gd name="connsiteY3" fmla="*/ 1441641 h 1457609"/>
              <a:gd name="connsiteX4" fmla="*/ 7776926 w 11144815"/>
              <a:gd name="connsiteY4" fmla="*/ 1432588 h 1457609"/>
              <a:gd name="connsiteX5" fmla="*/ 5417 w 11144815"/>
              <a:gd name="connsiteY5" fmla="*/ 1396374 h 1457609"/>
              <a:gd name="connsiteX6" fmla="*/ 14470 w 11144815"/>
              <a:gd name="connsiteY6" fmla="*/ 1106662 h 1457609"/>
              <a:gd name="connsiteX7" fmla="*/ 14470 w 11144815"/>
              <a:gd name="connsiteY7" fmla="*/ 742386 h 1457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4815" h="1457609">
                <a:moveTo>
                  <a:pt x="14470" y="742386"/>
                </a:moveTo>
                <a:lnTo>
                  <a:pt x="0" y="0"/>
                </a:lnTo>
                <a:lnTo>
                  <a:pt x="11144815" y="1457609"/>
                </a:lnTo>
                <a:lnTo>
                  <a:pt x="9415603" y="1441641"/>
                </a:lnTo>
                <a:lnTo>
                  <a:pt x="7776926" y="1432588"/>
                </a:lnTo>
                <a:cubicBezTo>
                  <a:pt x="7703286" y="1435606"/>
                  <a:pt x="2577813" y="1420517"/>
                  <a:pt x="5417" y="1396374"/>
                </a:cubicBezTo>
                <a:lnTo>
                  <a:pt x="14470" y="1106662"/>
                </a:lnTo>
                <a:lnTo>
                  <a:pt x="14470" y="742386"/>
                </a:lnTo>
                <a:close/>
              </a:path>
            </a:pathLst>
          </a:custGeom>
          <a:solidFill>
            <a:schemeClr val="accent2">
              <a:alpha val="50000"/>
            </a:schemeClr>
          </a:solidFill>
        </p:spPr>
        <p:txBody>
          <a:bodyPr lIns="180000" tIns="180000" rIns="180000" bIns="180000"/>
          <a:lstStyle>
            <a:lvl1pPr marL="0" indent="0">
              <a:buNone/>
              <a:defRPr/>
            </a:lvl1pPr>
          </a:lstStyle>
          <a:p>
            <a:r>
              <a:rPr lang="de-DE"/>
              <a:t> </a:t>
            </a:r>
          </a:p>
        </p:txBody>
      </p:sp>
    </p:spTree>
    <p:extLst>
      <p:ext uri="{BB962C8B-B14F-4D97-AF65-F5344CB8AC3E}">
        <p14:creationId xmlns:p14="http://schemas.microsoft.com/office/powerpoint/2010/main" val="41309958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Nur Headline">
    <p:spTree>
      <p:nvGrpSpPr>
        <p:cNvPr id="1" name=""/>
        <p:cNvGrpSpPr/>
        <p:nvPr/>
      </p:nvGrpSpPr>
      <p:grpSpPr>
        <a:xfrm>
          <a:off x="0" y="0"/>
          <a:ext cx="0" cy="0"/>
          <a:chOff x="0" y="0"/>
          <a:chExt cx="0" cy="0"/>
        </a:xfrm>
      </p:grpSpPr>
      <p:sp>
        <p:nvSpPr>
          <p:cNvPr id="9" name="Datumsplatzhalter 8"/>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10" name="Fußzeilenplatzhalter 9"/>
          <p:cNvSpPr>
            <a:spLocks noGrp="1"/>
          </p:cNvSpPr>
          <p:nvPr>
            <p:ph type="ftr" sz="quarter" idx="11"/>
          </p:nvPr>
        </p:nvSpPr>
        <p:spPr/>
        <p:txBody>
          <a:bodyPr/>
          <a:lstStyle/>
          <a:p>
            <a:r>
              <a:rPr lang="de-DE" noProof="0"/>
              <a:t>FZI Forschungszentrum Informatik</a:t>
            </a:r>
          </a:p>
        </p:txBody>
      </p:sp>
      <p:sp>
        <p:nvSpPr>
          <p:cNvPr id="11" name="Foliennummernplatzhalter 10"/>
          <p:cNvSpPr>
            <a:spLocks noGrp="1"/>
          </p:cNvSpPr>
          <p:nvPr>
            <p:ph type="sldNum" sz="quarter" idx="12"/>
          </p:nvPr>
        </p:nvSpPr>
        <p:spPr/>
        <p:txBody>
          <a:bodyPr/>
          <a:lstStyle/>
          <a:p>
            <a:fld id="{02CEFE82-39F2-4F47-8A0C-D5AB3496FA5C}" type="slidenum">
              <a:rPr lang="de-DE" noProof="0" smtClean="0"/>
              <a:pPr/>
              <a:t>‹#›</a:t>
            </a:fld>
            <a:endParaRPr lang="de-DE" noProof="0"/>
          </a:p>
        </p:txBody>
      </p:sp>
      <p:sp>
        <p:nvSpPr>
          <p:cNvPr id="6" name="Titel 2">
            <a:extLst>
              <a:ext uri="{FF2B5EF4-FFF2-40B4-BE49-F238E27FC236}">
                <a16:creationId xmlns:a16="http://schemas.microsoft.com/office/drawing/2014/main" id="{5D7A489B-02B9-4503-A940-ADBDC68BD7BD}"/>
              </a:ext>
            </a:extLst>
          </p:cNvPr>
          <p:cNvSpPr>
            <a:spLocks noGrp="1"/>
          </p:cNvSpPr>
          <p:nvPr>
            <p:ph type="title" hasCustomPrompt="1"/>
          </p:nvPr>
        </p:nvSpPr>
        <p:spPr>
          <a:xfrm>
            <a:off x="540000" y="432000"/>
            <a:ext cx="10232222" cy="539685"/>
          </a:xfrm>
        </p:spPr>
        <p:txBody>
          <a:bodyPr/>
          <a:lstStyle>
            <a:lvl1pPr marL="0" indent="0">
              <a:buClr>
                <a:srgbClr val="0E2356"/>
              </a:buClr>
              <a:buSzPct val="110000"/>
              <a:buFont typeface="Source Sans Pro SemiBold" panose="020B0603030403020204" pitchFamily="34" charset="0"/>
              <a:buNone/>
              <a:defRPr b="1">
                <a:solidFill>
                  <a:srgbClr val="0E2356"/>
                </a:solidFill>
              </a:defRPr>
            </a:lvl1pPr>
          </a:lstStyle>
          <a:p>
            <a:r>
              <a:rPr lang="de-DE"/>
              <a:t>Titelmasterformat bearbeiten</a:t>
            </a:r>
          </a:p>
        </p:txBody>
      </p:sp>
      <p:sp>
        <p:nvSpPr>
          <p:cNvPr id="8" name="Textplatzhalter 3">
            <a:extLst>
              <a:ext uri="{FF2B5EF4-FFF2-40B4-BE49-F238E27FC236}">
                <a16:creationId xmlns:a16="http://schemas.microsoft.com/office/drawing/2014/main" id="{E5099914-7874-4637-AE82-C43268E2E775}"/>
              </a:ext>
            </a:extLst>
          </p:cNvPr>
          <p:cNvSpPr>
            <a:spLocks noGrp="1"/>
          </p:cNvSpPr>
          <p:nvPr>
            <p:ph type="body" sz="quarter" idx="28" hasCustomPrompt="1"/>
          </p:nvPr>
        </p:nvSpPr>
        <p:spPr>
          <a:xfrm>
            <a:off x="539751" y="971685"/>
            <a:ext cx="10232472" cy="528638"/>
          </a:xfrm>
        </p:spPr>
        <p:txBody>
          <a:bodyPr/>
          <a:lstStyle>
            <a:lvl1pPr marL="0" indent="0">
              <a:buNone/>
              <a:defRPr sz="2000">
                <a:solidFill>
                  <a:srgbClr val="2FAE7A"/>
                </a:solidFill>
              </a:defRPr>
            </a:lvl1pPr>
          </a:lstStyle>
          <a:p>
            <a:pPr lvl="0"/>
            <a:r>
              <a:rPr lang="de-DE"/>
              <a:t>Das ist eine optionale </a:t>
            </a:r>
            <a:r>
              <a:rPr lang="de-DE" err="1"/>
              <a:t>Subline</a:t>
            </a:r>
            <a:r>
              <a:rPr lang="de-DE"/>
              <a:t>. Bei Nichtnutzung einfach löschen. </a:t>
            </a:r>
          </a:p>
        </p:txBody>
      </p:sp>
    </p:spTree>
    <p:extLst>
      <p:ext uri="{BB962C8B-B14F-4D97-AF65-F5344CB8AC3E}">
        <p14:creationId xmlns:p14="http://schemas.microsoft.com/office/powerpoint/2010/main" val="21912870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Agenda_8x">
    <p:spTree>
      <p:nvGrpSpPr>
        <p:cNvPr id="1" name=""/>
        <p:cNvGrpSpPr/>
        <p:nvPr/>
      </p:nvGrpSpPr>
      <p:grpSpPr>
        <a:xfrm>
          <a:off x="0" y="0"/>
          <a:ext cx="0" cy="0"/>
          <a:chOff x="0" y="0"/>
          <a:chExt cx="0" cy="0"/>
        </a:xfrm>
      </p:grpSpPr>
      <p:sp>
        <p:nvSpPr>
          <p:cNvPr id="6" name="Datumsplatzhalter 5"/>
          <p:cNvSpPr>
            <a:spLocks noGrp="1"/>
          </p:cNvSpPr>
          <p:nvPr>
            <p:ph type="dt" sz="half" idx="29"/>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30"/>
          </p:nvPr>
        </p:nvSpPr>
        <p:spPr/>
        <p:txBody>
          <a:bodyPr/>
          <a:lstStyle/>
          <a:p>
            <a:r>
              <a:rPr lang="de-DE" noProof="0"/>
              <a:t>FZI Forschungszentrum Informatik</a:t>
            </a:r>
          </a:p>
        </p:txBody>
      </p:sp>
      <p:sp>
        <p:nvSpPr>
          <p:cNvPr id="9" name="Foliennummernplatzhalter 8"/>
          <p:cNvSpPr>
            <a:spLocks noGrp="1"/>
          </p:cNvSpPr>
          <p:nvPr>
            <p:ph type="sldNum" sz="quarter" idx="31"/>
          </p:nvPr>
        </p:nvSpPr>
        <p:spPr/>
        <p:txBody>
          <a:bodyPr/>
          <a:lstStyle/>
          <a:p>
            <a:fld id="{02CEFE82-39F2-4F47-8A0C-D5AB3496FA5C}" type="slidenum">
              <a:rPr lang="de-DE" noProof="0" smtClean="0"/>
              <a:pPr/>
              <a:t>‹#›</a:t>
            </a:fld>
            <a:endParaRPr lang="de-DE" noProof="0"/>
          </a:p>
        </p:txBody>
      </p:sp>
      <p:sp>
        <p:nvSpPr>
          <p:cNvPr id="7" name="Textplatzhalter 6"/>
          <p:cNvSpPr>
            <a:spLocks noGrp="1"/>
          </p:cNvSpPr>
          <p:nvPr>
            <p:ph type="body" sz="quarter" idx="13" hasCustomPrompt="1"/>
          </p:nvPr>
        </p:nvSpPr>
        <p:spPr>
          <a:xfrm>
            <a:off x="1119662" y="1714500"/>
            <a:ext cx="2921657" cy="816430"/>
          </a:xfrm>
        </p:spPr>
        <p:txBody>
          <a:bodyPr anchor="ctr"/>
          <a:lstStyle>
            <a:lvl1pPr marL="0" marR="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sp>
        <p:nvSpPr>
          <p:cNvPr id="10" name="Textplatzhalter 6"/>
          <p:cNvSpPr>
            <a:spLocks noGrp="1"/>
          </p:cNvSpPr>
          <p:nvPr>
            <p:ph type="body" sz="quarter" idx="16" hasCustomPrompt="1"/>
          </p:nvPr>
        </p:nvSpPr>
        <p:spPr>
          <a:xfrm>
            <a:off x="8126903" y="1736120"/>
            <a:ext cx="2921657" cy="816430"/>
          </a:xfrm>
        </p:spPr>
        <p:txBody>
          <a:bodyPr anchor="ctr"/>
          <a:lstStyle>
            <a:lvl1pPr marL="0" marR="0" indent="0" algn="l"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l" defTabSz="914400" rtl="0" eaLnBrk="1" fontAlgn="auto" latinLnBrk="0" hangingPunct="1">
              <a:lnSpc>
                <a:spcPct val="110000"/>
              </a:lnSpc>
              <a:spcBef>
                <a:spcPts val="0"/>
              </a:spcBef>
              <a:spcAft>
                <a:spcPts val="100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grpSp>
        <p:nvGrpSpPr>
          <p:cNvPr id="11" name="Gruppieren 10">
            <a:extLst>
              <a:ext uri="{FF2B5EF4-FFF2-40B4-BE49-F238E27FC236}">
                <a16:creationId xmlns:a16="http://schemas.microsoft.com/office/drawing/2014/main" id="{3658FF60-A033-48E9-BDCA-6A42745D0B3B}"/>
              </a:ext>
            </a:extLst>
          </p:cNvPr>
          <p:cNvGrpSpPr/>
          <p:nvPr userDrawn="1"/>
        </p:nvGrpSpPr>
        <p:grpSpPr bwMode="gray">
          <a:xfrm>
            <a:off x="4169829" y="1694335"/>
            <a:ext cx="1690746" cy="900000"/>
            <a:chOff x="3800475" y="1970965"/>
            <a:chExt cx="1690746" cy="900000"/>
          </a:xfrm>
        </p:grpSpPr>
        <p:sp>
          <p:nvSpPr>
            <p:cNvPr id="12" name="Rechteck 11">
              <a:extLst>
                <a:ext uri="{FF2B5EF4-FFF2-40B4-BE49-F238E27FC236}">
                  <a16:creationId xmlns:a16="http://schemas.microsoft.com/office/drawing/2014/main" id="{38291149-1D7F-44F6-8FDB-3A075DC88164}"/>
                </a:ext>
              </a:extLst>
            </p:cNvPr>
            <p:cNvSpPr>
              <a:spLocks noChangeAspect="1"/>
            </p:cNvSpPr>
            <p:nvPr/>
          </p:nvSpPr>
          <p:spPr bwMode="gray">
            <a:xfrm>
              <a:off x="4591221" y="1970965"/>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cxnSp>
          <p:nvCxnSpPr>
            <p:cNvPr id="13" name="Linie">
              <a:extLst>
                <a:ext uri="{FF2B5EF4-FFF2-40B4-BE49-F238E27FC236}">
                  <a16:creationId xmlns:a16="http://schemas.microsoft.com/office/drawing/2014/main" id="{ACE23054-734A-4241-98B8-08E94CC3689D}"/>
                </a:ext>
              </a:extLst>
            </p:cNvPr>
            <p:cNvCxnSpPr/>
            <p:nvPr/>
          </p:nvCxnSpPr>
          <p:spPr bwMode="gray">
            <a:xfrm>
              <a:off x="3800475" y="2420965"/>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14" name="Rechteck 13">
              <a:extLst>
                <a:ext uri="{FF2B5EF4-FFF2-40B4-BE49-F238E27FC236}">
                  <a16:creationId xmlns:a16="http://schemas.microsoft.com/office/drawing/2014/main" id="{879991E4-337A-4EE1-9574-3024761EC763}"/>
                </a:ext>
              </a:extLst>
            </p:cNvPr>
            <p:cNvSpPr/>
            <p:nvPr/>
          </p:nvSpPr>
          <p:spPr bwMode="gray">
            <a:xfrm>
              <a:off x="4681221" y="2060965"/>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1</a:t>
              </a:r>
            </a:p>
          </p:txBody>
        </p:sp>
      </p:grpSp>
      <p:grpSp>
        <p:nvGrpSpPr>
          <p:cNvPr id="15" name="Gruppieren 14">
            <a:extLst>
              <a:ext uri="{FF2B5EF4-FFF2-40B4-BE49-F238E27FC236}">
                <a16:creationId xmlns:a16="http://schemas.microsoft.com/office/drawing/2014/main" id="{8BF716C8-7FFF-4836-B4F3-F334F2D9BB39}"/>
              </a:ext>
            </a:extLst>
          </p:cNvPr>
          <p:cNvGrpSpPr/>
          <p:nvPr userDrawn="1"/>
        </p:nvGrpSpPr>
        <p:grpSpPr bwMode="gray">
          <a:xfrm>
            <a:off x="6328575" y="1694335"/>
            <a:ext cx="1692000" cy="900000"/>
            <a:chOff x="5959221" y="1988749"/>
            <a:chExt cx="1692000" cy="900000"/>
          </a:xfrm>
        </p:grpSpPr>
        <p:cxnSp>
          <p:nvCxnSpPr>
            <p:cNvPr id="16" name="Linie">
              <a:extLst>
                <a:ext uri="{FF2B5EF4-FFF2-40B4-BE49-F238E27FC236}">
                  <a16:creationId xmlns:a16="http://schemas.microsoft.com/office/drawing/2014/main" id="{8BC3BB71-3FE8-4B2A-86A8-8CCB487C316E}"/>
                </a:ext>
              </a:extLst>
            </p:cNvPr>
            <p:cNvCxnSpPr/>
            <p:nvPr/>
          </p:nvCxnSpPr>
          <p:spPr bwMode="gray">
            <a:xfrm>
              <a:off x="6859221" y="2438749"/>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grpSp>
          <p:nvGrpSpPr>
            <p:cNvPr id="17" name="Gruppieren 16">
              <a:extLst>
                <a:ext uri="{FF2B5EF4-FFF2-40B4-BE49-F238E27FC236}">
                  <a16:creationId xmlns:a16="http://schemas.microsoft.com/office/drawing/2014/main" id="{B5B891B7-F057-4CC6-9D13-72DA735006C3}"/>
                </a:ext>
              </a:extLst>
            </p:cNvPr>
            <p:cNvGrpSpPr/>
            <p:nvPr/>
          </p:nvGrpSpPr>
          <p:grpSpPr bwMode="gray">
            <a:xfrm>
              <a:off x="5959221" y="1988749"/>
              <a:ext cx="900000" cy="900000"/>
              <a:chOff x="5959221" y="1988749"/>
              <a:chExt cx="900000" cy="900000"/>
            </a:xfrm>
          </p:grpSpPr>
          <p:sp>
            <p:nvSpPr>
              <p:cNvPr id="18" name="Rechteck 17">
                <a:extLst>
                  <a:ext uri="{FF2B5EF4-FFF2-40B4-BE49-F238E27FC236}">
                    <a16:creationId xmlns:a16="http://schemas.microsoft.com/office/drawing/2014/main" id="{47D7545C-3656-4C94-A9E7-E5FA38619408}"/>
                  </a:ext>
                </a:extLst>
              </p:cNvPr>
              <p:cNvSpPr>
                <a:spLocks noChangeAspect="1"/>
              </p:cNvSpPr>
              <p:nvPr/>
            </p:nvSpPr>
            <p:spPr bwMode="gray">
              <a:xfrm>
                <a:off x="5959221" y="1988749"/>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sp>
            <p:nvSpPr>
              <p:cNvPr id="19" name="Rechteck 18">
                <a:extLst>
                  <a:ext uri="{FF2B5EF4-FFF2-40B4-BE49-F238E27FC236}">
                    <a16:creationId xmlns:a16="http://schemas.microsoft.com/office/drawing/2014/main" id="{852C4639-8369-4536-8770-9EF49424CC00}"/>
                  </a:ext>
                </a:extLst>
              </p:cNvPr>
              <p:cNvSpPr/>
              <p:nvPr/>
            </p:nvSpPr>
            <p:spPr bwMode="gray">
              <a:xfrm>
                <a:off x="6049221" y="207874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5</a:t>
                </a:r>
              </a:p>
            </p:txBody>
          </p:sp>
        </p:grpSp>
      </p:grpSp>
      <p:sp>
        <p:nvSpPr>
          <p:cNvPr id="20" name="Textplatzhalter 6"/>
          <p:cNvSpPr>
            <a:spLocks noGrp="1"/>
          </p:cNvSpPr>
          <p:nvPr>
            <p:ph type="body" sz="quarter" idx="21" hasCustomPrompt="1"/>
          </p:nvPr>
        </p:nvSpPr>
        <p:spPr>
          <a:xfrm>
            <a:off x="1119662" y="2765089"/>
            <a:ext cx="2921657" cy="816430"/>
          </a:xfrm>
        </p:spPr>
        <p:txBody>
          <a:bodyPr anchor="ctr"/>
          <a:lstStyle>
            <a:lvl1pPr marL="0" marR="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sp>
        <p:nvSpPr>
          <p:cNvPr id="21" name="Textplatzhalter 6"/>
          <p:cNvSpPr>
            <a:spLocks noGrp="1"/>
          </p:cNvSpPr>
          <p:nvPr>
            <p:ph type="body" sz="quarter" idx="22" hasCustomPrompt="1"/>
          </p:nvPr>
        </p:nvSpPr>
        <p:spPr>
          <a:xfrm>
            <a:off x="8126903" y="2786709"/>
            <a:ext cx="2921657" cy="816430"/>
          </a:xfrm>
        </p:spPr>
        <p:txBody>
          <a:bodyPr anchor="ctr"/>
          <a:lstStyle>
            <a:lvl1pPr marL="0" marR="0" indent="0" algn="l"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l" defTabSz="914400" rtl="0" eaLnBrk="1" fontAlgn="auto" latinLnBrk="0" hangingPunct="1">
              <a:lnSpc>
                <a:spcPct val="110000"/>
              </a:lnSpc>
              <a:spcBef>
                <a:spcPts val="0"/>
              </a:spcBef>
              <a:spcAft>
                <a:spcPts val="100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grpSp>
        <p:nvGrpSpPr>
          <p:cNvPr id="22" name="Gruppieren 21">
            <a:extLst>
              <a:ext uri="{FF2B5EF4-FFF2-40B4-BE49-F238E27FC236}">
                <a16:creationId xmlns:a16="http://schemas.microsoft.com/office/drawing/2014/main" id="{3658FF60-A033-48E9-BDCA-6A42745D0B3B}"/>
              </a:ext>
            </a:extLst>
          </p:cNvPr>
          <p:cNvGrpSpPr/>
          <p:nvPr userDrawn="1"/>
        </p:nvGrpSpPr>
        <p:grpSpPr bwMode="gray">
          <a:xfrm>
            <a:off x="4169829" y="2744924"/>
            <a:ext cx="1690746" cy="900000"/>
            <a:chOff x="3800475" y="1970965"/>
            <a:chExt cx="1690746" cy="900000"/>
          </a:xfrm>
        </p:grpSpPr>
        <p:sp>
          <p:nvSpPr>
            <p:cNvPr id="23" name="Rechteck 22">
              <a:extLst>
                <a:ext uri="{FF2B5EF4-FFF2-40B4-BE49-F238E27FC236}">
                  <a16:creationId xmlns:a16="http://schemas.microsoft.com/office/drawing/2014/main" id="{38291149-1D7F-44F6-8FDB-3A075DC88164}"/>
                </a:ext>
              </a:extLst>
            </p:cNvPr>
            <p:cNvSpPr>
              <a:spLocks noChangeAspect="1"/>
            </p:cNvSpPr>
            <p:nvPr/>
          </p:nvSpPr>
          <p:spPr bwMode="gray">
            <a:xfrm>
              <a:off x="4591221" y="1970965"/>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cxnSp>
          <p:nvCxnSpPr>
            <p:cNvPr id="24" name="Linie">
              <a:extLst>
                <a:ext uri="{FF2B5EF4-FFF2-40B4-BE49-F238E27FC236}">
                  <a16:creationId xmlns:a16="http://schemas.microsoft.com/office/drawing/2014/main" id="{ACE23054-734A-4241-98B8-08E94CC3689D}"/>
                </a:ext>
              </a:extLst>
            </p:cNvPr>
            <p:cNvCxnSpPr/>
            <p:nvPr/>
          </p:nvCxnSpPr>
          <p:spPr bwMode="gray">
            <a:xfrm>
              <a:off x="3800475" y="2420965"/>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25" name="Rechteck 24">
              <a:extLst>
                <a:ext uri="{FF2B5EF4-FFF2-40B4-BE49-F238E27FC236}">
                  <a16:creationId xmlns:a16="http://schemas.microsoft.com/office/drawing/2014/main" id="{879991E4-337A-4EE1-9574-3024761EC763}"/>
                </a:ext>
              </a:extLst>
            </p:cNvPr>
            <p:cNvSpPr/>
            <p:nvPr/>
          </p:nvSpPr>
          <p:spPr bwMode="gray">
            <a:xfrm>
              <a:off x="4681221" y="2060965"/>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2</a:t>
              </a:r>
            </a:p>
          </p:txBody>
        </p:sp>
      </p:grpSp>
      <p:grpSp>
        <p:nvGrpSpPr>
          <p:cNvPr id="26" name="Gruppieren 25">
            <a:extLst>
              <a:ext uri="{FF2B5EF4-FFF2-40B4-BE49-F238E27FC236}">
                <a16:creationId xmlns:a16="http://schemas.microsoft.com/office/drawing/2014/main" id="{8BF716C8-7FFF-4836-B4F3-F334F2D9BB39}"/>
              </a:ext>
            </a:extLst>
          </p:cNvPr>
          <p:cNvGrpSpPr/>
          <p:nvPr userDrawn="1"/>
        </p:nvGrpSpPr>
        <p:grpSpPr bwMode="gray">
          <a:xfrm>
            <a:off x="6328575" y="2744924"/>
            <a:ext cx="1692000" cy="900000"/>
            <a:chOff x="5959221" y="1988749"/>
            <a:chExt cx="1692000" cy="900000"/>
          </a:xfrm>
        </p:grpSpPr>
        <p:cxnSp>
          <p:nvCxnSpPr>
            <p:cNvPr id="27" name="Linie">
              <a:extLst>
                <a:ext uri="{FF2B5EF4-FFF2-40B4-BE49-F238E27FC236}">
                  <a16:creationId xmlns:a16="http://schemas.microsoft.com/office/drawing/2014/main" id="{8BC3BB71-3FE8-4B2A-86A8-8CCB487C316E}"/>
                </a:ext>
              </a:extLst>
            </p:cNvPr>
            <p:cNvCxnSpPr/>
            <p:nvPr/>
          </p:nvCxnSpPr>
          <p:spPr bwMode="gray">
            <a:xfrm>
              <a:off x="6859221" y="2438749"/>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grpSp>
          <p:nvGrpSpPr>
            <p:cNvPr id="28" name="Gruppieren 27">
              <a:extLst>
                <a:ext uri="{FF2B5EF4-FFF2-40B4-BE49-F238E27FC236}">
                  <a16:creationId xmlns:a16="http://schemas.microsoft.com/office/drawing/2014/main" id="{B5B891B7-F057-4CC6-9D13-72DA735006C3}"/>
                </a:ext>
              </a:extLst>
            </p:cNvPr>
            <p:cNvGrpSpPr/>
            <p:nvPr/>
          </p:nvGrpSpPr>
          <p:grpSpPr bwMode="gray">
            <a:xfrm>
              <a:off x="5959221" y="1988749"/>
              <a:ext cx="900000" cy="900000"/>
              <a:chOff x="5959221" y="1988749"/>
              <a:chExt cx="900000" cy="900000"/>
            </a:xfrm>
          </p:grpSpPr>
          <p:sp>
            <p:nvSpPr>
              <p:cNvPr id="29" name="Rechteck 28">
                <a:extLst>
                  <a:ext uri="{FF2B5EF4-FFF2-40B4-BE49-F238E27FC236}">
                    <a16:creationId xmlns:a16="http://schemas.microsoft.com/office/drawing/2014/main" id="{47D7545C-3656-4C94-A9E7-E5FA38619408}"/>
                  </a:ext>
                </a:extLst>
              </p:cNvPr>
              <p:cNvSpPr>
                <a:spLocks noChangeAspect="1"/>
              </p:cNvSpPr>
              <p:nvPr/>
            </p:nvSpPr>
            <p:spPr bwMode="gray">
              <a:xfrm>
                <a:off x="5959221" y="1988749"/>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sp>
            <p:nvSpPr>
              <p:cNvPr id="30" name="Rechteck 29">
                <a:extLst>
                  <a:ext uri="{FF2B5EF4-FFF2-40B4-BE49-F238E27FC236}">
                    <a16:creationId xmlns:a16="http://schemas.microsoft.com/office/drawing/2014/main" id="{852C4639-8369-4536-8770-9EF49424CC00}"/>
                  </a:ext>
                </a:extLst>
              </p:cNvPr>
              <p:cNvSpPr/>
              <p:nvPr/>
            </p:nvSpPr>
            <p:spPr bwMode="gray">
              <a:xfrm>
                <a:off x="6049221" y="207874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6</a:t>
                </a:r>
              </a:p>
            </p:txBody>
          </p:sp>
        </p:grpSp>
      </p:grpSp>
      <p:sp>
        <p:nvSpPr>
          <p:cNvPr id="31" name="Textplatzhalter 6"/>
          <p:cNvSpPr>
            <a:spLocks noGrp="1"/>
          </p:cNvSpPr>
          <p:nvPr>
            <p:ph type="body" sz="quarter" idx="25" hasCustomPrompt="1"/>
          </p:nvPr>
        </p:nvSpPr>
        <p:spPr>
          <a:xfrm>
            <a:off x="1119662" y="3821738"/>
            <a:ext cx="2921657" cy="816430"/>
          </a:xfrm>
        </p:spPr>
        <p:txBody>
          <a:bodyPr anchor="ctr"/>
          <a:lstStyle>
            <a:lvl1pPr marL="0" marR="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sp>
        <p:nvSpPr>
          <p:cNvPr id="32" name="Textplatzhalter 6"/>
          <p:cNvSpPr>
            <a:spLocks noGrp="1"/>
          </p:cNvSpPr>
          <p:nvPr>
            <p:ph type="body" sz="quarter" idx="26" hasCustomPrompt="1"/>
          </p:nvPr>
        </p:nvSpPr>
        <p:spPr>
          <a:xfrm>
            <a:off x="8126903" y="3843358"/>
            <a:ext cx="2921657" cy="816430"/>
          </a:xfrm>
        </p:spPr>
        <p:txBody>
          <a:bodyPr anchor="ctr"/>
          <a:lstStyle>
            <a:lvl1pPr marL="0" marR="0" indent="0" algn="l"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l" defTabSz="914400" rtl="0" eaLnBrk="1" fontAlgn="auto" latinLnBrk="0" hangingPunct="1">
              <a:lnSpc>
                <a:spcPct val="110000"/>
              </a:lnSpc>
              <a:spcBef>
                <a:spcPts val="0"/>
              </a:spcBef>
              <a:spcAft>
                <a:spcPts val="100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grpSp>
        <p:nvGrpSpPr>
          <p:cNvPr id="33" name="Gruppieren 32">
            <a:extLst>
              <a:ext uri="{FF2B5EF4-FFF2-40B4-BE49-F238E27FC236}">
                <a16:creationId xmlns:a16="http://schemas.microsoft.com/office/drawing/2014/main" id="{3658FF60-A033-48E9-BDCA-6A42745D0B3B}"/>
              </a:ext>
            </a:extLst>
          </p:cNvPr>
          <p:cNvGrpSpPr/>
          <p:nvPr userDrawn="1"/>
        </p:nvGrpSpPr>
        <p:grpSpPr bwMode="gray">
          <a:xfrm>
            <a:off x="4169829" y="3801573"/>
            <a:ext cx="1690746" cy="900000"/>
            <a:chOff x="3800475" y="1970965"/>
            <a:chExt cx="1690746" cy="900000"/>
          </a:xfrm>
        </p:grpSpPr>
        <p:sp>
          <p:nvSpPr>
            <p:cNvPr id="34" name="Rechteck 33">
              <a:extLst>
                <a:ext uri="{FF2B5EF4-FFF2-40B4-BE49-F238E27FC236}">
                  <a16:creationId xmlns:a16="http://schemas.microsoft.com/office/drawing/2014/main" id="{38291149-1D7F-44F6-8FDB-3A075DC88164}"/>
                </a:ext>
              </a:extLst>
            </p:cNvPr>
            <p:cNvSpPr>
              <a:spLocks noChangeAspect="1"/>
            </p:cNvSpPr>
            <p:nvPr/>
          </p:nvSpPr>
          <p:spPr bwMode="gray">
            <a:xfrm>
              <a:off x="4591221" y="1970965"/>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cxnSp>
          <p:nvCxnSpPr>
            <p:cNvPr id="35" name="Linie">
              <a:extLst>
                <a:ext uri="{FF2B5EF4-FFF2-40B4-BE49-F238E27FC236}">
                  <a16:creationId xmlns:a16="http://schemas.microsoft.com/office/drawing/2014/main" id="{ACE23054-734A-4241-98B8-08E94CC3689D}"/>
                </a:ext>
              </a:extLst>
            </p:cNvPr>
            <p:cNvCxnSpPr/>
            <p:nvPr/>
          </p:nvCxnSpPr>
          <p:spPr bwMode="gray">
            <a:xfrm>
              <a:off x="3800475" y="2420965"/>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36" name="Rechteck 35">
              <a:extLst>
                <a:ext uri="{FF2B5EF4-FFF2-40B4-BE49-F238E27FC236}">
                  <a16:creationId xmlns:a16="http://schemas.microsoft.com/office/drawing/2014/main" id="{879991E4-337A-4EE1-9574-3024761EC763}"/>
                </a:ext>
              </a:extLst>
            </p:cNvPr>
            <p:cNvSpPr/>
            <p:nvPr/>
          </p:nvSpPr>
          <p:spPr bwMode="gray">
            <a:xfrm>
              <a:off x="4681221" y="2060965"/>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3</a:t>
              </a:r>
            </a:p>
          </p:txBody>
        </p:sp>
      </p:grpSp>
      <p:grpSp>
        <p:nvGrpSpPr>
          <p:cNvPr id="37" name="Gruppieren 36">
            <a:extLst>
              <a:ext uri="{FF2B5EF4-FFF2-40B4-BE49-F238E27FC236}">
                <a16:creationId xmlns:a16="http://schemas.microsoft.com/office/drawing/2014/main" id="{8BF716C8-7FFF-4836-B4F3-F334F2D9BB39}"/>
              </a:ext>
            </a:extLst>
          </p:cNvPr>
          <p:cNvGrpSpPr/>
          <p:nvPr userDrawn="1"/>
        </p:nvGrpSpPr>
        <p:grpSpPr bwMode="gray">
          <a:xfrm>
            <a:off x="6328575" y="3801573"/>
            <a:ext cx="1692000" cy="900000"/>
            <a:chOff x="5959221" y="1988749"/>
            <a:chExt cx="1692000" cy="900000"/>
          </a:xfrm>
        </p:grpSpPr>
        <p:cxnSp>
          <p:nvCxnSpPr>
            <p:cNvPr id="38" name="Linie">
              <a:extLst>
                <a:ext uri="{FF2B5EF4-FFF2-40B4-BE49-F238E27FC236}">
                  <a16:creationId xmlns:a16="http://schemas.microsoft.com/office/drawing/2014/main" id="{8BC3BB71-3FE8-4B2A-86A8-8CCB487C316E}"/>
                </a:ext>
              </a:extLst>
            </p:cNvPr>
            <p:cNvCxnSpPr/>
            <p:nvPr/>
          </p:nvCxnSpPr>
          <p:spPr bwMode="gray">
            <a:xfrm>
              <a:off x="6859221" y="2438749"/>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grpSp>
          <p:nvGrpSpPr>
            <p:cNvPr id="39" name="Gruppieren 38">
              <a:extLst>
                <a:ext uri="{FF2B5EF4-FFF2-40B4-BE49-F238E27FC236}">
                  <a16:creationId xmlns:a16="http://schemas.microsoft.com/office/drawing/2014/main" id="{B5B891B7-F057-4CC6-9D13-72DA735006C3}"/>
                </a:ext>
              </a:extLst>
            </p:cNvPr>
            <p:cNvGrpSpPr/>
            <p:nvPr/>
          </p:nvGrpSpPr>
          <p:grpSpPr bwMode="gray">
            <a:xfrm>
              <a:off x="5959221" y="1988749"/>
              <a:ext cx="900000" cy="900000"/>
              <a:chOff x="5959221" y="1988749"/>
              <a:chExt cx="900000" cy="900000"/>
            </a:xfrm>
          </p:grpSpPr>
          <p:sp>
            <p:nvSpPr>
              <p:cNvPr id="40" name="Rechteck 39">
                <a:extLst>
                  <a:ext uri="{FF2B5EF4-FFF2-40B4-BE49-F238E27FC236}">
                    <a16:creationId xmlns:a16="http://schemas.microsoft.com/office/drawing/2014/main" id="{47D7545C-3656-4C94-A9E7-E5FA38619408}"/>
                  </a:ext>
                </a:extLst>
              </p:cNvPr>
              <p:cNvSpPr>
                <a:spLocks noChangeAspect="1"/>
              </p:cNvSpPr>
              <p:nvPr/>
            </p:nvSpPr>
            <p:spPr bwMode="gray">
              <a:xfrm>
                <a:off x="5959221" y="1988749"/>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sp>
            <p:nvSpPr>
              <p:cNvPr id="41" name="Rechteck 40">
                <a:extLst>
                  <a:ext uri="{FF2B5EF4-FFF2-40B4-BE49-F238E27FC236}">
                    <a16:creationId xmlns:a16="http://schemas.microsoft.com/office/drawing/2014/main" id="{852C4639-8369-4536-8770-9EF49424CC00}"/>
                  </a:ext>
                </a:extLst>
              </p:cNvPr>
              <p:cNvSpPr/>
              <p:nvPr/>
            </p:nvSpPr>
            <p:spPr bwMode="gray">
              <a:xfrm>
                <a:off x="6049221" y="207874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7</a:t>
                </a:r>
              </a:p>
            </p:txBody>
          </p:sp>
        </p:grpSp>
      </p:grpSp>
      <p:sp>
        <p:nvSpPr>
          <p:cNvPr id="42" name="Textplatzhalter 6"/>
          <p:cNvSpPr>
            <a:spLocks noGrp="1"/>
          </p:cNvSpPr>
          <p:nvPr>
            <p:ph type="body" sz="quarter" idx="32" hasCustomPrompt="1"/>
          </p:nvPr>
        </p:nvSpPr>
        <p:spPr>
          <a:xfrm>
            <a:off x="1125105" y="4872208"/>
            <a:ext cx="2921657" cy="816430"/>
          </a:xfrm>
        </p:spPr>
        <p:txBody>
          <a:bodyPr anchor="ctr"/>
          <a:lstStyle>
            <a:lvl1pPr marL="0" marR="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r"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sp>
        <p:nvSpPr>
          <p:cNvPr id="43" name="Textplatzhalter 6"/>
          <p:cNvSpPr>
            <a:spLocks noGrp="1"/>
          </p:cNvSpPr>
          <p:nvPr>
            <p:ph type="body" sz="quarter" idx="33" hasCustomPrompt="1"/>
          </p:nvPr>
        </p:nvSpPr>
        <p:spPr>
          <a:xfrm>
            <a:off x="8132346" y="4893828"/>
            <a:ext cx="2921657" cy="816430"/>
          </a:xfrm>
        </p:spPr>
        <p:txBody>
          <a:bodyPr anchor="ctr"/>
          <a:lstStyle>
            <a:lvl1pPr marL="0" marR="0" indent="0" algn="l"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a:lvl1pPr>
          </a:lstStyle>
          <a:p>
            <a:pPr marL="0" marR="0" lvl="0" indent="0" algn="l" defTabSz="914400" rtl="0" eaLnBrk="1" fontAlgn="auto" latinLnBrk="0" hangingPunct="1">
              <a:lnSpc>
                <a:spcPct val="110000"/>
              </a:lnSpc>
              <a:spcBef>
                <a:spcPts val="0"/>
              </a:spcBef>
              <a:spcAft>
                <a:spcPts val="1000"/>
              </a:spcAft>
              <a:buClr>
                <a:schemeClr val="tx2">
                  <a:lumMod val="75000"/>
                </a:schemeClr>
              </a:buClr>
              <a:buSzTx/>
              <a:buFont typeface="Wingdings" panose="05000000000000000000" pitchFamily="2" charset="2"/>
              <a:buNone/>
              <a:tabLst/>
              <a:defRPr/>
            </a:pPr>
            <a:r>
              <a:rPr lang="de-DE" sz="1600" b="1">
                <a:solidFill>
                  <a:srgbClr val="58585A">
                    <a:lumMod val="75000"/>
                  </a:srgbClr>
                </a:solidFill>
              </a:rPr>
              <a:t>Klicken Sie auf den </a:t>
            </a:r>
            <a:br>
              <a:rPr lang="de-DE" sz="1600" b="1">
                <a:solidFill>
                  <a:srgbClr val="58585A">
                    <a:lumMod val="75000"/>
                  </a:srgbClr>
                </a:solidFill>
              </a:rPr>
            </a:br>
            <a:r>
              <a:rPr lang="de-DE" sz="1600" b="1">
                <a:solidFill>
                  <a:srgbClr val="58585A">
                    <a:lumMod val="75000"/>
                  </a:srgbClr>
                </a:solidFill>
              </a:rPr>
              <a:t>Platzhaltertext</a:t>
            </a:r>
            <a:r>
              <a:rPr lang="de-DE" sz="1600">
                <a:solidFill>
                  <a:srgbClr val="58585A">
                    <a:lumMod val="75000"/>
                  </a:srgbClr>
                </a:solidFill>
              </a:rPr>
              <a:t> und geben </a:t>
            </a:r>
            <a:br>
              <a:rPr lang="de-DE" sz="1600">
                <a:solidFill>
                  <a:srgbClr val="58585A">
                    <a:lumMod val="75000"/>
                  </a:srgbClr>
                </a:solidFill>
              </a:rPr>
            </a:br>
            <a:r>
              <a:rPr lang="de-DE" sz="1600">
                <a:solidFill>
                  <a:srgbClr val="58585A">
                    <a:lumMod val="75000"/>
                  </a:srgbClr>
                </a:solidFill>
              </a:rPr>
              <a:t>Sie Ihren Text ein.</a:t>
            </a:r>
          </a:p>
        </p:txBody>
      </p:sp>
      <p:grpSp>
        <p:nvGrpSpPr>
          <p:cNvPr id="44" name="Gruppieren 43">
            <a:extLst>
              <a:ext uri="{FF2B5EF4-FFF2-40B4-BE49-F238E27FC236}">
                <a16:creationId xmlns:a16="http://schemas.microsoft.com/office/drawing/2014/main" id="{3658FF60-A033-48E9-BDCA-6A42745D0B3B}"/>
              </a:ext>
            </a:extLst>
          </p:cNvPr>
          <p:cNvGrpSpPr/>
          <p:nvPr userDrawn="1"/>
        </p:nvGrpSpPr>
        <p:grpSpPr bwMode="gray">
          <a:xfrm>
            <a:off x="4175272" y="4852043"/>
            <a:ext cx="1690746" cy="900000"/>
            <a:chOff x="3800475" y="1970965"/>
            <a:chExt cx="1690746" cy="900000"/>
          </a:xfrm>
        </p:grpSpPr>
        <p:sp>
          <p:nvSpPr>
            <p:cNvPr id="45" name="Rechteck 44">
              <a:extLst>
                <a:ext uri="{FF2B5EF4-FFF2-40B4-BE49-F238E27FC236}">
                  <a16:creationId xmlns:a16="http://schemas.microsoft.com/office/drawing/2014/main" id="{38291149-1D7F-44F6-8FDB-3A075DC88164}"/>
                </a:ext>
              </a:extLst>
            </p:cNvPr>
            <p:cNvSpPr>
              <a:spLocks noChangeAspect="1"/>
            </p:cNvSpPr>
            <p:nvPr/>
          </p:nvSpPr>
          <p:spPr bwMode="gray">
            <a:xfrm>
              <a:off x="4591221" y="1970965"/>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cxnSp>
          <p:nvCxnSpPr>
            <p:cNvPr id="46" name="Linie">
              <a:extLst>
                <a:ext uri="{FF2B5EF4-FFF2-40B4-BE49-F238E27FC236}">
                  <a16:creationId xmlns:a16="http://schemas.microsoft.com/office/drawing/2014/main" id="{ACE23054-734A-4241-98B8-08E94CC3689D}"/>
                </a:ext>
              </a:extLst>
            </p:cNvPr>
            <p:cNvCxnSpPr/>
            <p:nvPr/>
          </p:nvCxnSpPr>
          <p:spPr bwMode="gray">
            <a:xfrm>
              <a:off x="3800475" y="2420965"/>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47" name="Rechteck 46">
              <a:extLst>
                <a:ext uri="{FF2B5EF4-FFF2-40B4-BE49-F238E27FC236}">
                  <a16:creationId xmlns:a16="http://schemas.microsoft.com/office/drawing/2014/main" id="{879991E4-337A-4EE1-9574-3024761EC763}"/>
                </a:ext>
              </a:extLst>
            </p:cNvPr>
            <p:cNvSpPr/>
            <p:nvPr/>
          </p:nvSpPr>
          <p:spPr bwMode="gray">
            <a:xfrm>
              <a:off x="4681221" y="2060965"/>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4</a:t>
              </a:r>
            </a:p>
          </p:txBody>
        </p:sp>
      </p:grpSp>
      <p:grpSp>
        <p:nvGrpSpPr>
          <p:cNvPr id="48" name="Gruppieren 47">
            <a:extLst>
              <a:ext uri="{FF2B5EF4-FFF2-40B4-BE49-F238E27FC236}">
                <a16:creationId xmlns:a16="http://schemas.microsoft.com/office/drawing/2014/main" id="{8BF716C8-7FFF-4836-B4F3-F334F2D9BB39}"/>
              </a:ext>
            </a:extLst>
          </p:cNvPr>
          <p:cNvGrpSpPr/>
          <p:nvPr userDrawn="1"/>
        </p:nvGrpSpPr>
        <p:grpSpPr bwMode="gray">
          <a:xfrm>
            <a:off x="6334018" y="4852043"/>
            <a:ext cx="1692000" cy="900000"/>
            <a:chOff x="5959221" y="1988749"/>
            <a:chExt cx="1692000" cy="900000"/>
          </a:xfrm>
        </p:grpSpPr>
        <p:cxnSp>
          <p:nvCxnSpPr>
            <p:cNvPr id="49" name="Linie">
              <a:extLst>
                <a:ext uri="{FF2B5EF4-FFF2-40B4-BE49-F238E27FC236}">
                  <a16:creationId xmlns:a16="http://schemas.microsoft.com/office/drawing/2014/main" id="{8BC3BB71-3FE8-4B2A-86A8-8CCB487C316E}"/>
                </a:ext>
              </a:extLst>
            </p:cNvPr>
            <p:cNvCxnSpPr/>
            <p:nvPr/>
          </p:nvCxnSpPr>
          <p:spPr bwMode="gray">
            <a:xfrm>
              <a:off x="6859221" y="2438749"/>
              <a:ext cx="792000" cy="0"/>
            </a:xfrm>
            <a:prstGeom prst="line">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cxnSp>
        <p:grpSp>
          <p:nvGrpSpPr>
            <p:cNvPr id="50" name="Gruppieren 49">
              <a:extLst>
                <a:ext uri="{FF2B5EF4-FFF2-40B4-BE49-F238E27FC236}">
                  <a16:creationId xmlns:a16="http://schemas.microsoft.com/office/drawing/2014/main" id="{B5B891B7-F057-4CC6-9D13-72DA735006C3}"/>
                </a:ext>
              </a:extLst>
            </p:cNvPr>
            <p:cNvGrpSpPr/>
            <p:nvPr/>
          </p:nvGrpSpPr>
          <p:grpSpPr bwMode="gray">
            <a:xfrm>
              <a:off x="5959221" y="1988749"/>
              <a:ext cx="900000" cy="900000"/>
              <a:chOff x="5959221" y="1988749"/>
              <a:chExt cx="900000" cy="900000"/>
            </a:xfrm>
          </p:grpSpPr>
          <p:sp>
            <p:nvSpPr>
              <p:cNvPr id="51" name="Rechteck 50">
                <a:extLst>
                  <a:ext uri="{FF2B5EF4-FFF2-40B4-BE49-F238E27FC236}">
                    <a16:creationId xmlns:a16="http://schemas.microsoft.com/office/drawing/2014/main" id="{47D7545C-3656-4C94-A9E7-E5FA38619408}"/>
                  </a:ext>
                </a:extLst>
              </p:cNvPr>
              <p:cNvSpPr>
                <a:spLocks noChangeAspect="1"/>
              </p:cNvSpPr>
              <p:nvPr/>
            </p:nvSpPr>
            <p:spPr bwMode="gray">
              <a:xfrm>
                <a:off x="5959221" y="1988749"/>
                <a:ext cx="900000" cy="900000"/>
              </a:xfrm>
              <a:prstGeom prst="rect">
                <a:avLst/>
              </a:prstGeom>
              <a:noFill/>
              <a:ln w="12700">
                <a:solidFill>
                  <a:srgbClr val="2FAE7A"/>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de-DE" noProof="0">
                  <a:latin typeface="Source Sans Pro" panose="020B0503030403020204" pitchFamily="34" charset="0"/>
                </a:endParaRPr>
              </a:p>
            </p:txBody>
          </p:sp>
          <p:sp>
            <p:nvSpPr>
              <p:cNvPr id="52" name="Rechteck 51">
                <a:extLst>
                  <a:ext uri="{FF2B5EF4-FFF2-40B4-BE49-F238E27FC236}">
                    <a16:creationId xmlns:a16="http://schemas.microsoft.com/office/drawing/2014/main" id="{852C4639-8369-4536-8770-9EF49424CC00}"/>
                  </a:ext>
                </a:extLst>
              </p:cNvPr>
              <p:cNvSpPr/>
              <p:nvPr/>
            </p:nvSpPr>
            <p:spPr bwMode="gray">
              <a:xfrm>
                <a:off x="6049221" y="207874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sz="2000" b="1">
                    <a:solidFill>
                      <a:srgbClr val="2FAE7A"/>
                    </a:solidFill>
                    <a:latin typeface="Source Sans Pro" panose="020B0503030403020204" pitchFamily="34" charset="0"/>
                  </a:rPr>
                  <a:t>8</a:t>
                </a:r>
              </a:p>
            </p:txBody>
          </p:sp>
        </p:grpSp>
      </p:grpSp>
      <p:sp>
        <p:nvSpPr>
          <p:cNvPr id="53" name="Titel 1"/>
          <p:cNvSpPr>
            <a:spLocks noGrp="1"/>
          </p:cNvSpPr>
          <p:nvPr>
            <p:ph type="title" hasCustomPrompt="1"/>
          </p:nvPr>
        </p:nvSpPr>
        <p:spPr>
          <a:xfrm>
            <a:off x="540000" y="432000"/>
            <a:ext cx="10296000" cy="533200"/>
          </a:xfrm>
        </p:spPr>
        <p:txBody>
          <a:bodyPr/>
          <a:lstStyle>
            <a:lvl1pPr marL="0" indent="0">
              <a:buClr>
                <a:srgbClr val="0E2356"/>
              </a:buClr>
              <a:buSzPct val="110000"/>
              <a:buFont typeface="Source Sans Pro SemiBold" panose="020B0603030403020204" pitchFamily="34" charset="0"/>
              <a:buNone/>
              <a:defRPr b="1">
                <a:solidFill>
                  <a:srgbClr val="0E2356"/>
                </a:solidFill>
              </a:defRPr>
            </a:lvl1pPr>
          </a:lstStyle>
          <a:p>
            <a:r>
              <a:rPr lang="de-DE"/>
              <a:t>Titel: Agenda</a:t>
            </a:r>
          </a:p>
        </p:txBody>
      </p:sp>
      <p:sp>
        <p:nvSpPr>
          <p:cNvPr id="55" name="Textplatzhalter 3">
            <a:extLst>
              <a:ext uri="{FF2B5EF4-FFF2-40B4-BE49-F238E27FC236}">
                <a16:creationId xmlns:a16="http://schemas.microsoft.com/office/drawing/2014/main" id="{E5099914-7874-4637-AE82-C43268E2E775}"/>
              </a:ext>
            </a:extLst>
          </p:cNvPr>
          <p:cNvSpPr>
            <a:spLocks noGrp="1"/>
          </p:cNvSpPr>
          <p:nvPr>
            <p:ph type="body" sz="quarter" idx="28" hasCustomPrompt="1"/>
          </p:nvPr>
        </p:nvSpPr>
        <p:spPr>
          <a:xfrm>
            <a:off x="539750" y="971685"/>
            <a:ext cx="10387013" cy="528638"/>
          </a:xfrm>
        </p:spPr>
        <p:txBody>
          <a:bodyPr/>
          <a:lstStyle>
            <a:lvl1pPr marL="0" indent="0">
              <a:buNone/>
              <a:defRPr sz="2000">
                <a:solidFill>
                  <a:srgbClr val="2FAE7A"/>
                </a:solidFill>
              </a:defRPr>
            </a:lvl1pPr>
          </a:lstStyle>
          <a:p>
            <a:pPr lvl="0"/>
            <a:r>
              <a:rPr lang="de-DE"/>
              <a:t>Das ist eine optionale </a:t>
            </a:r>
            <a:r>
              <a:rPr lang="de-DE" err="1"/>
              <a:t>Subline</a:t>
            </a:r>
            <a:r>
              <a:rPr lang="de-DE"/>
              <a:t>. Bei Nichtnutzung einfach löschen. </a:t>
            </a:r>
          </a:p>
        </p:txBody>
      </p:sp>
    </p:spTree>
    <p:extLst>
      <p:ext uri="{BB962C8B-B14F-4D97-AF65-F5344CB8AC3E}">
        <p14:creationId xmlns:p14="http://schemas.microsoft.com/office/powerpoint/2010/main" val="28730672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Headlin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D7A489B-02B9-4503-A940-ADBDC68BD7BD}"/>
              </a:ext>
            </a:extLst>
          </p:cNvPr>
          <p:cNvSpPr>
            <a:spLocks noGrp="1"/>
          </p:cNvSpPr>
          <p:nvPr>
            <p:ph type="title" hasCustomPrompt="1"/>
          </p:nvPr>
        </p:nvSpPr>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9" name="Datumsplatzhalter 8"/>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10" name="Fußzeilenplatzhalter 9"/>
          <p:cNvSpPr>
            <a:spLocks noGrp="1"/>
          </p:cNvSpPr>
          <p:nvPr>
            <p:ph type="ftr" sz="quarter" idx="11"/>
          </p:nvPr>
        </p:nvSpPr>
        <p:spPr/>
        <p:txBody>
          <a:bodyPr/>
          <a:lstStyle/>
          <a:p>
            <a:r>
              <a:rPr lang="de-DE" noProof="0"/>
              <a:t>FZI Forschungszentrum Informatik</a:t>
            </a:r>
          </a:p>
        </p:txBody>
      </p:sp>
      <p:sp>
        <p:nvSpPr>
          <p:cNvPr id="11" name="Foliennummernplatzhalter 10"/>
          <p:cNvSpPr>
            <a:spLocks noGrp="1"/>
          </p:cNvSpPr>
          <p:nvPr>
            <p:ph type="sldNum" sz="quarter" idx="12"/>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23837150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sp>
        <p:nvSpPr>
          <p:cNvPr id="43" name="Bild"/>
          <p:cNvSpPr>
            <a:spLocks noGrp="1" noChangeAspect="1"/>
          </p:cNvSpPr>
          <p:nvPr>
            <p:ph type="pic" sz="quarter" idx="14"/>
          </p:nvPr>
        </p:nvSpPr>
        <p:spPr bwMode="gray">
          <a:xfrm>
            <a:off x="0" y="0"/>
            <a:ext cx="7804800" cy="6858000"/>
          </a:xfrm>
          <a:solidFill>
            <a:schemeClr val="bg1">
              <a:lumMod val="85000"/>
            </a:schemeClr>
          </a:solidFill>
        </p:spPr>
        <p:txBody>
          <a:bodyPr lIns="180000" tIns="180000" rIns="180000" bIns="180000"/>
          <a:lstStyle>
            <a:lvl1pPr marL="0" indent="0">
              <a:buNone/>
              <a:defRPr/>
            </a:lvl1pPr>
          </a:lstStyle>
          <a:p>
            <a:r>
              <a:rPr lang="de-DE" noProof="0"/>
              <a:t>Bild durch Klicken auf Symbol hinzufügen</a:t>
            </a:r>
          </a:p>
        </p:txBody>
      </p:sp>
      <p:sp>
        <p:nvSpPr>
          <p:cNvPr id="13" name="Freihandform 12"/>
          <p:cNvSpPr/>
          <p:nvPr userDrawn="1"/>
        </p:nvSpPr>
        <p:spPr>
          <a:xfrm>
            <a:off x="4200018" y="-94268"/>
            <a:ext cx="8851769" cy="7098383"/>
          </a:xfrm>
          <a:custGeom>
            <a:avLst/>
            <a:gdLst>
              <a:gd name="connsiteX0" fmla="*/ 0 w 8851769"/>
              <a:gd name="connsiteY0" fmla="*/ 7098383 h 7098383"/>
              <a:gd name="connsiteX1" fmla="*/ 2592371 w 8851769"/>
              <a:gd name="connsiteY1" fmla="*/ 0 h 7098383"/>
              <a:gd name="connsiteX2" fmla="*/ 8851769 w 8851769"/>
              <a:gd name="connsiteY2" fmla="*/ 0 h 7098383"/>
              <a:gd name="connsiteX3" fmla="*/ 8851769 w 8851769"/>
              <a:gd name="connsiteY3" fmla="*/ 7088957 h 7098383"/>
              <a:gd name="connsiteX4" fmla="*/ 0 w 8851769"/>
              <a:gd name="connsiteY4" fmla="*/ 7098383 h 7098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769" h="7098383">
                <a:moveTo>
                  <a:pt x="0" y="7098383"/>
                </a:moveTo>
                <a:lnTo>
                  <a:pt x="2592371" y="0"/>
                </a:lnTo>
                <a:lnTo>
                  <a:pt x="8851769" y="0"/>
                </a:lnTo>
                <a:lnTo>
                  <a:pt x="8851769" y="7088957"/>
                </a:lnTo>
                <a:lnTo>
                  <a:pt x="0" y="709838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de-DE" err="1"/>
          </a:p>
        </p:txBody>
      </p:sp>
      <p:sp>
        <p:nvSpPr>
          <p:cNvPr id="3" name="Inhalt"/>
          <p:cNvSpPr>
            <a:spLocks noGrp="1"/>
          </p:cNvSpPr>
          <p:nvPr>
            <p:ph sz="half" idx="1"/>
          </p:nvPr>
        </p:nvSpPr>
        <p:spPr bwMode="gray">
          <a:xfrm>
            <a:off x="7804800" y="1711005"/>
            <a:ext cx="3416400" cy="4298400"/>
          </a:xfrm>
        </p:spPr>
        <p:txBody>
          <a:bodyPr/>
          <a:lstStyle>
            <a:lvl1pPr marL="270000" indent="-270000">
              <a:buClr>
                <a:srgbClr val="2FAE7A"/>
              </a:buClr>
              <a:buFont typeface="Source Sans Pro Black" panose="020B0803030403020204" pitchFamily="34" charset="0"/>
              <a:buChar char="−"/>
              <a:defRPr sz="1600">
                <a:solidFill>
                  <a:schemeClr val="tx2">
                    <a:lumMod val="75000"/>
                  </a:schemeClr>
                </a:solidFill>
              </a:defRPr>
            </a:lvl1pPr>
            <a:lvl2pPr marL="735750" indent="-285750">
              <a:buClr>
                <a:srgbClr val="2FAE7A"/>
              </a:buClr>
              <a:buSzPct val="100000"/>
              <a:buFont typeface="Source Sans Pro Black" panose="020B0803030403020204" pitchFamily="34" charset="0"/>
              <a:buChar char="‒"/>
              <a:defRPr sz="1400">
                <a:solidFill>
                  <a:schemeClr val="tx2">
                    <a:lumMod val="75000"/>
                  </a:schemeClr>
                </a:solidFill>
              </a:defRPr>
            </a:lvl2pPr>
            <a:lvl3pPr marL="1080000" indent="-270000">
              <a:buFont typeface="Source Sans Pro Black" panose="020B0803030403020204" pitchFamily="34" charset="0"/>
              <a:buChar char="‒"/>
              <a:defRPr sz="1200">
                <a:solidFill>
                  <a:schemeClr val="tx2">
                    <a:lumMod val="75000"/>
                  </a:schemeClr>
                </a:solidFill>
              </a:defRPr>
            </a:lvl3pPr>
            <a:lvl4pPr marL="1440000" indent="-270000">
              <a:buFont typeface="Source Sans Pro Black" panose="020B0803030403020204" pitchFamily="34" charset="0"/>
              <a:buChar char="‒"/>
              <a:defRPr sz="1050">
                <a:solidFill>
                  <a:schemeClr val="tx2">
                    <a:lumMod val="75000"/>
                  </a:schemeClr>
                </a:solidFill>
              </a:defRPr>
            </a:lvl4pPr>
            <a:lvl5pPr marL="1800000" indent="-270000">
              <a:buFont typeface="Source Sans Pro Black" panose="020B0803030403020204" pitchFamily="34" charset="0"/>
              <a:buChar char="‒"/>
              <a:defRPr sz="900">
                <a:solidFill>
                  <a:schemeClr val="tx2">
                    <a:lumMod val="75000"/>
                  </a:schemeClr>
                </a:solidFill>
              </a:defRPr>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Titel 3">
            <a:extLst>
              <a:ext uri="{FF2B5EF4-FFF2-40B4-BE49-F238E27FC236}">
                <a16:creationId xmlns:a16="http://schemas.microsoft.com/office/drawing/2014/main" id="{4D8129ED-53CD-495A-AF23-92E67C8BBE94}"/>
              </a:ext>
            </a:extLst>
          </p:cNvPr>
          <p:cNvSpPr>
            <a:spLocks noGrp="1"/>
          </p:cNvSpPr>
          <p:nvPr>
            <p:ph type="title" hasCustomPrompt="1"/>
          </p:nvPr>
        </p:nvSpPr>
        <p:spPr>
          <a:xfrm>
            <a:off x="639159" y="1685232"/>
            <a:ext cx="4909824" cy="1080000"/>
          </a:xfrm>
        </p:spPr>
        <p:txBody>
          <a:bodyPr/>
          <a:lstStyle>
            <a:lvl1pPr marL="0" indent="0">
              <a:buClr>
                <a:srgbClr val="002456"/>
              </a:buClr>
              <a:buSzPct val="110000"/>
              <a:buFont typeface="Source Sans Pro SemiBold" panose="020B0603030403020204" pitchFamily="34" charset="0"/>
              <a:buNone/>
              <a:defRPr b="1" baseline="0">
                <a:solidFill>
                  <a:schemeClr val="bg2"/>
                </a:solidFill>
                <a:latin typeface="Source Sans Pro" panose="020B0503030403020204" pitchFamily="34" charset="0"/>
                <a:ea typeface="Source Sans Pro" panose="020B0503030403020204" pitchFamily="34" charset="0"/>
              </a:defRPr>
            </a:lvl1pPr>
          </a:lstStyle>
          <a:p>
            <a:r>
              <a:rPr lang="de-DE"/>
              <a:t>Titelmasterformat </a:t>
            </a:r>
            <a:br>
              <a:rPr lang="de-DE"/>
            </a:br>
            <a:r>
              <a:rPr lang="de-DE"/>
              <a:t>bearbeiten</a:t>
            </a:r>
          </a:p>
        </p:txBody>
      </p:sp>
      <p:sp>
        <p:nvSpPr>
          <p:cNvPr id="10" name="Datumsplatzhalter 9"/>
          <p:cNvSpPr>
            <a:spLocks noGrp="1"/>
          </p:cNvSpPr>
          <p:nvPr>
            <p:ph type="dt" sz="half" idx="16"/>
          </p:nvPr>
        </p:nvSpPr>
        <p:spPr/>
        <p:txBody>
          <a:bodyPr/>
          <a:lstStyle/>
          <a:p>
            <a:fld id="{4680A733-F83D-4D19-AF27-7B0B870C8599}" type="datetime1">
              <a:rPr lang="de-DE" noProof="0" smtClean="0"/>
              <a:t>15.01.2025</a:t>
            </a:fld>
            <a:endParaRPr lang="de-DE" noProof="0"/>
          </a:p>
        </p:txBody>
      </p:sp>
      <p:sp>
        <p:nvSpPr>
          <p:cNvPr id="11" name="Fußzeilenplatzhalter 10"/>
          <p:cNvSpPr>
            <a:spLocks noGrp="1"/>
          </p:cNvSpPr>
          <p:nvPr>
            <p:ph type="ftr" sz="quarter" idx="17"/>
          </p:nvPr>
        </p:nvSpPr>
        <p:spPr/>
        <p:txBody>
          <a:bodyPr/>
          <a:lstStyle/>
          <a:p>
            <a:r>
              <a:rPr lang="de-DE" noProof="0"/>
              <a:t>FZI Forschungszentrum Informatik</a:t>
            </a:r>
          </a:p>
        </p:txBody>
      </p:sp>
      <p:sp>
        <p:nvSpPr>
          <p:cNvPr id="12" name="Foliennummernplatzhalter 11"/>
          <p:cNvSpPr>
            <a:spLocks noGrp="1"/>
          </p:cNvSpPr>
          <p:nvPr>
            <p:ph type="sldNum" sz="quarter" idx="18"/>
          </p:nvPr>
        </p:nvSpPr>
        <p:spPr/>
        <p:txBody>
          <a:bodyPr/>
          <a:lstStyle/>
          <a:p>
            <a:fld id="{02CEFE82-39F2-4F47-8A0C-D5AB3496FA5C}" type="slidenum">
              <a:rPr lang="de-DE" noProof="0" smtClean="0"/>
              <a:pPr/>
              <a:t>‹#›</a:t>
            </a:fld>
            <a:endParaRPr lang="de-DE" noProof="0"/>
          </a:p>
        </p:txBody>
      </p:sp>
      <p:sp>
        <p:nvSpPr>
          <p:cNvPr id="15" name="Textfeld 14">
            <a:extLst>
              <a:ext uri="{FF2B5EF4-FFF2-40B4-BE49-F238E27FC236}">
                <a16:creationId xmlns:a16="http://schemas.microsoft.com/office/drawing/2014/main" id="{647C3129-249B-4971-B77E-4BF9930FF23F}"/>
              </a:ext>
            </a:extLst>
          </p:cNvPr>
          <p:cNvSpPr txBox="1"/>
          <p:nvPr userDrawn="1"/>
        </p:nvSpPr>
        <p:spPr bwMode="gray">
          <a:xfrm>
            <a:off x="639159" y="3373307"/>
            <a:ext cx="1034800" cy="1080001"/>
          </a:xfrm>
          <a:prstGeom prst="rect">
            <a:avLst/>
          </a:prstGeom>
          <a:noFill/>
        </p:spPr>
        <p:txBody>
          <a:bodyPr wrap="square" lIns="0" tIns="0" rIns="0" bIns="0" rtlCol="0" anchor="ctr">
            <a:noAutofit/>
          </a:bodyPr>
          <a:lstStyle/>
          <a:p>
            <a:pPr>
              <a:lnSpc>
                <a:spcPct val="90000"/>
              </a:lnSpc>
              <a:spcAft>
                <a:spcPts val="1000"/>
              </a:spcAft>
            </a:pPr>
            <a:r>
              <a:rPr lang="de-DE" sz="6000" b="1" spc="-150" baseline="0">
                <a:solidFill>
                  <a:schemeClr val="bg1"/>
                </a:solidFill>
                <a:latin typeface="Source Sans Pro" panose="020B0503030403020204" pitchFamily="34" charset="0"/>
              </a:rPr>
              <a:t>01</a:t>
            </a:r>
          </a:p>
        </p:txBody>
      </p:sp>
      <p:sp>
        <p:nvSpPr>
          <p:cNvPr id="17" name="Rechteck 16"/>
          <p:cNvSpPr/>
          <p:nvPr userDrawn="1"/>
        </p:nvSpPr>
        <p:spPr>
          <a:xfrm>
            <a:off x="639159" y="1429733"/>
            <a:ext cx="930593" cy="511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de-DE" err="1"/>
          </a:p>
        </p:txBody>
      </p:sp>
    </p:spTree>
    <p:extLst>
      <p:ext uri="{BB962C8B-B14F-4D97-AF65-F5344CB8AC3E}">
        <p14:creationId xmlns:p14="http://schemas.microsoft.com/office/powerpoint/2010/main" val="33734049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
          <p:cNvSpPr>
            <a:spLocks noGrp="1"/>
          </p:cNvSpPr>
          <p:nvPr>
            <p:ph sz="half" idx="1"/>
          </p:nvPr>
        </p:nvSpPr>
        <p:spPr bwMode="gray">
          <a:xfrm>
            <a:off x="539998" y="1512000"/>
            <a:ext cx="10720185" cy="4298400"/>
          </a:xfrm>
        </p:spPr>
        <p:txBody>
          <a:bodyPr/>
          <a:lstStyle>
            <a:lvl1pPr marL="270000" indent="-270000">
              <a:buClr>
                <a:srgbClr val="2FAE7A"/>
              </a:buClr>
              <a:buFont typeface="Source Sans Pro Black" panose="020B0803030403020204" pitchFamily="34" charset="0"/>
              <a:buChar char="‒"/>
              <a:defRPr sz="1600">
                <a:solidFill>
                  <a:schemeClr val="tx2">
                    <a:lumMod val="75000"/>
                  </a:schemeClr>
                </a:solidFill>
              </a:defRPr>
            </a:lvl1pPr>
            <a:lvl2pPr marL="720000" indent="-270000">
              <a:buFont typeface="Source Sans Pro Black" panose="020B0803030403020204" pitchFamily="34" charset="0"/>
              <a:buChar char="‒"/>
              <a:defRPr sz="1400">
                <a:solidFill>
                  <a:schemeClr val="tx2">
                    <a:lumMod val="75000"/>
                  </a:schemeClr>
                </a:solidFill>
              </a:defRPr>
            </a:lvl2pPr>
            <a:lvl3pPr marL="1080000" indent="-270000">
              <a:buFont typeface="Source Sans Pro Black" panose="020B0803030403020204" pitchFamily="34" charset="0"/>
              <a:buChar char="‒"/>
              <a:defRPr sz="1200">
                <a:solidFill>
                  <a:schemeClr val="tx2">
                    <a:lumMod val="75000"/>
                  </a:schemeClr>
                </a:solidFill>
              </a:defRPr>
            </a:lvl3pPr>
            <a:lvl4pPr marL="1440000" indent="-270000">
              <a:buFont typeface="Source Sans Pro Black" panose="020B0803030403020204" pitchFamily="34" charset="0"/>
              <a:buChar char="‒"/>
              <a:defRPr sz="1050">
                <a:solidFill>
                  <a:schemeClr val="tx2">
                    <a:lumMod val="75000"/>
                  </a:schemeClr>
                </a:solidFill>
              </a:defRPr>
            </a:lvl4pPr>
            <a:lvl5pPr marL="1800000" indent="-270000">
              <a:buFont typeface="Source Sans Pro Black" panose="020B0803030403020204" pitchFamily="34" charset="0"/>
              <a:buChar char="‒"/>
              <a:defRPr sz="900">
                <a:solidFill>
                  <a:schemeClr val="tx2">
                    <a:lumMod val="75000"/>
                  </a:schemeClr>
                </a:solidFill>
              </a:defRPr>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Titel 3">
            <a:extLst>
              <a:ext uri="{FF2B5EF4-FFF2-40B4-BE49-F238E27FC236}">
                <a16:creationId xmlns:a16="http://schemas.microsoft.com/office/drawing/2014/main" id="{06F20923-607A-41CF-B9F5-D6EB030EB53C}"/>
              </a:ext>
            </a:extLst>
          </p:cNvPr>
          <p:cNvSpPr>
            <a:spLocks noGrp="1"/>
          </p:cNvSpPr>
          <p:nvPr>
            <p:ph type="title" hasCustomPrompt="1"/>
          </p:nvPr>
        </p:nvSpPr>
        <p:spPr/>
        <p:txBody>
          <a:bodyPr/>
          <a:lstStyle>
            <a:lvl1pPr marL="0" indent="0">
              <a:buClr>
                <a:srgbClr val="002456"/>
              </a:buClr>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11"/>
          </p:nvPr>
        </p:nvSpPr>
        <p:spPr/>
        <p:txBody>
          <a:bodyPr/>
          <a:lstStyle/>
          <a:p>
            <a:r>
              <a:rPr lang="de-DE" noProof="0"/>
              <a:t>FZI Forschungszentrum Informatik</a:t>
            </a:r>
          </a:p>
        </p:txBody>
      </p:sp>
      <p:sp>
        <p:nvSpPr>
          <p:cNvPr id="9" name="Foliennummernplatzhalter 8"/>
          <p:cNvSpPr>
            <a:spLocks noGrp="1"/>
          </p:cNvSpPr>
          <p:nvPr>
            <p:ph type="sldNum" sz="quarter" idx="12"/>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1245549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mit Logo">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E1C8C3DB-84E9-4A31-8D86-7882FB4C94B3}"/>
              </a:ext>
            </a:extLst>
          </p:cNvPr>
          <p:cNvSpPr/>
          <p:nvPr userDrawn="1"/>
        </p:nvSpPr>
        <p:spPr>
          <a:xfrm>
            <a:off x="12825257" y="1067794"/>
            <a:ext cx="5077286" cy="5060609"/>
          </a:xfrm>
          <a:custGeom>
            <a:avLst/>
            <a:gdLst/>
            <a:ahLst/>
            <a:cxnLst/>
            <a:rect l="0" t="0" r="0" b="0"/>
            <a:pathLst>
              <a:path w="421073" h="419691">
                <a:moveTo>
                  <a:pt x="75122" y="10338"/>
                </a:moveTo>
                <a:lnTo>
                  <a:pt x="279124" y="10338"/>
                </a:lnTo>
                <a:lnTo>
                  <a:pt x="342530" y="73744"/>
                </a:lnTo>
                <a:lnTo>
                  <a:pt x="10338" y="73744"/>
                </a:lnTo>
                <a:lnTo>
                  <a:pt x="75122" y="10338"/>
                </a:lnTo>
                <a:close/>
                <a:moveTo>
                  <a:pt x="411450" y="142663"/>
                </a:moveTo>
                <a:lnTo>
                  <a:pt x="411450" y="346664"/>
                </a:lnTo>
                <a:lnTo>
                  <a:pt x="346665" y="410070"/>
                </a:lnTo>
                <a:lnTo>
                  <a:pt x="346665" y="77879"/>
                </a:lnTo>
                <a:lnTo>
                  <a:pt x="411450" y="142663"/>
                </a:lnTo>
                <a:close/>
                <a:moveTo>
                  <a:pt x="68230" y="83392"/>
                </a:moveTo>
                <a:lnTo>
                  <a:pt x="219853" y="83392"/>
                </a:lnTo>
                <a:lnTo>
                  <a:pt x="276367" y="139906"/>
                </a:lnTo>
                <a:lnTo>
                  <a:pt x="11716" y="139906"/>
                </a:lnTo>
                <a:lnTo>
                  <a:pt x="68230" y="83392"/>
                </a:lnTo>
                <a:close/>
                <a:moveTo>
                  <a:pt x="338395" y="201934"/>
                </a:moveTo>
                <a:lnTo>
                  <a:pt x="338395" y="353556"/>
                </a:lnTo>
                <a:lnTo>
                  <a:pt x="280503" y="410070"/>
                </a:lnTo>
                <a:lnTo>
                  <a:pt x="280503" y="144041"/>
                </a:lnTo>
                <a:lnTo>
                  <a:pt x="338395" y="201934"/>
                </a:lnTo>
                <a:close/>
                <a:moveTo>
                  <a:pt x="62717" y="149555"/>
                </a:moveTo>
                <a:lnTo>
                  <a:pt x="164718" y="149555"/>
                </a:lnTo>
                <a:lnTo>
                  <a:pt x="215718" y="200555"/>
                </a:lnTo>
                <a:lnTo>
                  <a:pt x="11716" y="200555"/>
                </a:lnTo>
                <a:lnTo>
                  <a:pt x="62717" y="149555"/>
                </a:lnTo>
                <a:close/>
                <a:moveTo>
                  <a:pt x="270854" y="254312"/>
                </a:moveTo>
                <a:lnTo>
                  <a:pt x="270854" y="357691"/>
                </a:lnTo>
                <a:lnTo>
                  <a:pt x="219853" y="410070"/>
                </a:lnTo>
                <a:lnTo>
                  <a:pt x="219853" y="203312"/>
                </a:lnTo>
                <a:lnTo>
                  <a:pt x="270854" y="254312"/>
                </a:lnTo>
                <a:close/>
                <a:moveTo>
                  <a:pt x="50311" y="210204"/>
                </a:moveTo>
                <a:lnTo>
                  <a:pt x="130258" y="210204"/>
                </a:lnTo>
                <a:lnTo>
                  <a:pt x="168853" y="248799"/>
                </a:lnTo>
                <a:lnTo>
                  <a:pt x="11716" y="248799"/>
                </a:lnTo>
                <a:lnTo>
                  <a:pt x="50311" y="210204"/>
                </a:lnTo>
                <a:close/>
                <a:moveTo>
                  <a:pt x="51690" y="259826"/>
                </a:moveTo>
                <a:lnTo>
                  <a:pt x="123366" y="259826"/>
                </a:lnTo>
                <a:lnTo>
                  <a:pt x="161961" y="299799"/>
                </a:lnTo>
                <a:lnTo>
                  <a:pt x="161961" y="371475"/>
                </a:lnTo>
                <a:lnTo>
                  <a:pt x="121988" y="410070"/>
                </a:lnTo>
                <a:lnTo>
                  <a:pt x="50311" y="410070"/>
                </a:lnTo>
                <a:lnTo>
                  <a:pt x="11716" y="371475"/>
                </a:lnTo>
                <a:lnTo>
                  <a:pt x="11716" y="299799"/>
                </a:lnTo>
                <a:lnTo>
                  <a:pt x="51690" y="259826"/>
                </a:lnTo>
                <a:lnTo>
                  <a:pt x="51690" y="259826"/>
                </a:lnTo>
                <a:close/>
                <a:moveTo>
                  <a:pt x="121988" y="299799"/>
                </a:moveTo>
                <a:lnTo>
                  <a:pt x="50311" y="299799"/>
                </a:lnTo>
                <a:lnTo>
                  <a:pt x="50311" y="371475"/>
                </a:lnTo>
                <a:lnTo>
                  <a:pt x="121988" y="371475"/>
                </a:lnTo>
                <a:lnTo>
                  <a:pt x="121988" y="299799"/>
                </a:lnTo>
                <a:close/>
                <a:moveTo>
                  <a:pt x="210205" y="291529"/>
                </a:moveTo>
                <a:lnTo>
                  <a:pt x="210205" y="371475"/>
                </a:lnTo>
                <a:lnTo>
                  <a:pt x="171610" y="410070"/>
                </a:lnTo>
                <a:lnTo>
                  <a:pt x="171610" y="251555"/>
                </a:lnTo>
                <a:lnTo>
                  <a:pt x="210205" y="291529"/>
                </a:lnTo>
              </a:path>
            </a:pathLst>
          </a:custGeom>
          <a:solidFill>
            <a:schemeClr val="bg2">
              <a:lumMod val="95000"/>
              <a:alpha val="58000"/>
            </a:schemeClr>
          </a:solidFill>
          <a:ln w="95100" cap="flat">
            <a:noFill/>
            <a:prstDash val="solid"/>
            <a:miter/>
          </a:ln>
        </p:spPr>
        <p:txBody>
          <a:bodyPr/>
          <a:lstStyle/>
          <a:p>
            <a:endParaRPr lang="de-DE">
              <a:latin typeface="Source Sans Pro" panose="020B0503030403020204" pitchFamily="34" charset="0"/>
            </a:endParaRPr>
          </a:p>
        </p:txBody>
      </p:sp>
      <p:sp>
        <p:nvSpPr>
          <p:cNvPr id="3" name="Inhalt"/>
          <p:cNvSpPr>
            <a:spLocks noGrp="1"/>
          </p:cNvSpPr>
          <p:nvPr>
            <p:ph sz="half" idx="1"/>
          </p:nvPr>
        </p:nvSpPr>
        <p:spPr bwMode="gray">
          <a:xfrm>
            <a:off x="539998" y="1512000"/>
            <a:ext cx="10711475" cy="4298400"/>
          </a:xfrm>
        </p:spPr>
        <p:txBody>
          <a:bodyPr/>
          <a:lstStyle>
            <a:lvl1pPr marL="270000" indent="-270000">
              <a:buClr>
                <a:srgbClr val="2FAE7A"/>
              </a:buClr>
              <a:buFont typeface="Source Sans Pro Black" panose="020B0803030403020204" pitchFamily="34" charset="0"/>
              <a:buChar char="‒"/>
              <a:defRPr sz="1600">
                <a:solidFill>
                  <a:schemeClr val="tx2">
                    <a:lumMod val="75000"/>
                  </a:schemeClr>
                </a:solidFill>
              </a:defRPr>
            </a:lvl1pPr>
            <a:lvl2pPr>
              <a:defRPr sz="1400">
                <a:solidFill>
                  <a:schemeClr val="tx2">
                    <a:lumMod val="75000"/>
                  </a:schemeClr>
                </a:solidFill>
              </a:defRPr>
            </a:lvl2pPr>
            <a:lvl3pPr>
              <a:defRPr sz="1200">
                <a:solidFill>
                  <a:schemeClr val="tx2">
                    <a:lumMod val="75000"/>
                  </a:schemeClr>
                </a:solidFill>
              </a:defRPr>
            </a:lvl3pPr>
            <a:lvl4pPr>
              <a:defRPr sz="1050">
                <a:solidFill>
                  <a:schemeClr val="tx2">
                    <a:lumMod val="75000"/>
                  </a:schemeClr>
                </a:solidFill>
              </a:defRPr>
            </a:lvl4pPr>
            <a:lvl5pPr>
              <a:defRPr sz="900">
                <a:solidFill>
                  <a:schemeClr val="tx2">
                    <a:lumMod val="75000"/>
                  </a:schemeClr>
                </a:solidFill>
              </a:defRPr>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Titel 3">
            <a:extLst>
              <a:ext uri="{FF2B5EF4-FFF2-40B4-BE49-F238E27FC236}">
                <a16:creationId xmlns:a16="http://schemas.microsoft.com/office/drawing/2014/main" id="{06F20923-607A-41CF-B9F5-D6EB030EB53C}"/>
              </a:ext>
            </a:extLst>
          </p:cNvPr>
          <p:cNvSpPr>
            <a:spLocks noGrp="1"/>
          </p:cNvSpPr>
          <p:nvPr>
            <p:ph type="title" hasCustomPrompt="1"/>
          </p:nvPr>
        </p:nvSpPr>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11"/>
          </p:nvPr>
        </p:nvSpPr>
        <p:spPr/>
        <p:txBody>
          <a:bodyPr/>
          <a:lstStyle/>
          <a:p>
            <a:r>
              <a:rPr lang="de-DE" noProof="0"/>
              <a:t>FZI Forschungszentrum Informatik</a:t>
            </a:r>
          </a:p>
        </p:txBody>
      </p:sp>
      <p:sp>
        <p:nvSpPr>
          <p:cNvPr id="9" name="Foliennummernplatzhalter 8"/>
          <p:cNvSpPr>
            <a:spLocks noGrp="1"/>
          </p:cNvSpPr>
          <p:nvPr>
            <p:ph type="sldNum" sz="quarter" idx="12"/>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891708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x Content">
    <p:spTree>
      <p:nvGrpSpPr>
        <p:cNvPr id="1" name=""/>
        <p:cNvGrpSpPr/>
        <p:nvPr/>
      </p:nvGrpSpPr>
      <p:grpSpPr>
        <a:xfrm>
          <a:off x="0" y="0"/>
          <a:ext cx="0" cy="0"/>
          <a:chOff x="0" y="0"/>
          <a:chExt cx="0" cy="0"/>
        </a:xfrm>
      </p:grpSpPr>
      <p:sp>
        <p:nvSpPr>
          <p:cNvPr id="3" name="Inhalt"/>
          <p:cNvSpPr>
            <a:spLocks noGrp="1"/>
          </p:cNvSpPr>
          <p:nvPr>
            <p:ph sz="half" idx="1"/>
          </p:nvPr>
        </p:nvSpPr>
        <p:spPr bwMode="gray">
          <a:xfrm>
            <a:off x="539999" y="1512000"/>
            <a:ext cx="5338800" cy="4298400"/>
          </a:xfrm>
        </p:spPr>
        <p:txBody>
          <a:bodyPr/>
          <a:lstStyle>
            <a:lvl1pPr marL="270000" indent="-270000">
              <a:buClr>
                <a:srgbClr val="2FAE7A"/>
              </a:buClr>
              <a:buFont typeface="Source Sans Pro Black" panose="020B0803030403020204" pitchFamily="34" charset="0"/>
              <a:buChar char="‒"/>
              <a:defRPr sz="1600">
                <a:solidFill>
                  <a:schemeClr val="tx2">
                    <a:lumMod val="75000"/>
                  </a:schemeClr>
                </a:solidFill>
              </a:defRPr>
            </a:lvl1pPr>
            <a:lvl2pPr>
              <a:defRPr sz="1400">
                <a:solidFill>
                  <a:schemeClr val="tx2">
                    <a:lumMod val="75000"/>
                  </a:schemeClr>
                </a:solidFill>
              </a:defRPr>
            </a:lvl2pPr>
            <a:lvl3pPr>
              <a:defRPr sz="1200">
                <a:solidFill>
                  <a:schemeClr val="tx2">
                    <a:lumMod val="75000"/>
                  </a:schemeClr>
                </a:solidFill>
              </a:defRPr>
            </a:lvl3pPr>
            <a:lvl4pPr>
              <a:defRPr sz="1050">
                <a:solidFill>
                  <a:schemeClr val="tx2">
                    <a:lumMod val="75000"/>
                  </a:schemeClr>
                </a:solidFill>
              </a:defRPr>
            </a:lvl4pPr>
            <a:lvl5pPr>
              <a:defRPr sz="900">
                <a:solidFill>
                  <a:schemeClr val="tx2">
                    <a:lumMod val="75000"/>
                  </a:schemeClr>
                </a:solidFill>
              </a:defRPr>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Inhalt">
            <a:extLst>
              <a:ext uri="{FF2B5EF4-FFF2-40B4-BE49-F238E27FC236}">
                <a16:creationId xmlns:a16="http://schemas.microsoft.com/office/drawing/2014/main" id="{89383FBC-BC76-42C2-94BC-D4778FF5BD20}"/>
              </a:ext>
            </a:extLst>
          </p:cNvPr>
          <p:cNvSpPr>
            <a:spLocks noGrp="1"/>
          </p:cNvSpPr>
          <p:nvPr>
            <p:ph sz="half" idx="14"/>
          </p:nvPr>
        </p:nvSpPr>
        <p:spPr bwMode="gray">
          <a:xfrm>
            <a:off x="6310800" y="1512000"/>
            <a:ext cx="5338800" cy="4298400"/>
          </a:xfrm>
        </p:spPr>
        <p:txBody>
          <a:bodyPr/>
          <a:lstStyle>
            <a:lvl1pPr marL="270000" indent="-270000">
              <a:buClr>
                <a:srgbClr val="2FAE7A"/>
              </a:buClr>
              <a:buFont typeface="Source Sans Pro Black" panose="020B0803030403020204" pitchFamily="34" charset="0"/>
              <a:buChar char="‒"/>
              <a:defRPr sz="1600"/>
            </a:lvl1pPr>
            <a:lvl2pPr>
              <a:defRPr sz="1400"/>
            </a:lvl2pPr>
            <a:lvl3pPr>
              <a:defRPr sz="1200"/>
            </a:lvl3pPr>
            <a:lvl4pPr>
              <a:defRPr sz="1050"/>
            </a:lvl4pPr>
            <a:lvl5pPr>
              <a:defRPr sz="900"/>
            </a:lvl5pPr>
            <a:lvl6pPr>
              <a:defRPr sz="1800"/>
            </a:lvl6pPr>
            <a:lvl7pPr>
              <a:defRPr sz="1800"/>
            </a:lvl7pPr>
            <a:lvl8pPr>
              <a:defRPr sz="1800"/>
            </a:lvl8pPr>
            <a:lvl9pPr>
              <a:defRPr sz="1800"/>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Titel 3">
            <a:extLst>
              <a:ext uri="{FF2B5EF4-FFF2-40B4-BE49-F238E27FC236}">
                <a16:creationId xmlns:a16="http://schemas.microsoft.com/office/drawing/2014/main" id="{06F20923-607A-41CF-B9F5-D6EB030EB53C}"/>
              </a:ext>
            </a:extLst>
          </p:cNvPr>
          <p:cNvSpPr>
            <a:spLocks noGrp="1"/>
          </p:cNvSpPr>
          <p:nvPr>
            <p:ph type="title" hasCustomPrompt="1"/>
          </p:nvPr>
        </p:nvSpPr>
        <p:spPr/>
        <p:txBody>
          <a:bodyPr/>
          <a:lstStyle>
            <a:lvl1pPr marL="0" indent="0">
              <a:buClr>
                <a:srgbClr val="002456"/>
              </a:buClr>
              <a:buSzPct val="110000"/>
              <a:buFont typeface="Source Sans Pro SemiBold" panose="020B0603030403020204" pitchFamily="34" charset="0"/>
              <a:buNone/>
              <a:defRPr b="1">
                <a:solidFill>
                  <a:srgbClr val="002456"/>
                </a:solidFill>
                <a:latin typeface="Source Sans Pro" panose="020B0503030403020204" pitchFamily="34" charset="0"/>
                <a:ea typeface="Source Sans Pro" panose="020B0503030403020204" pitchFamily="34" charset="0"/>
              </a:defRPr>
            </a:lvl1pPr>
          </a:lstStyle>
          <a:p>
            <a:r>
              <a:rPr lang="de-DE"/>
              <a:t>Titelmasterformat bearbeiten</a:t>
            </a:r>
          </a:p>
        </p:txBody>
      </p:sp>
      <p:sp>
        <p:nvSpPr>
          <p:cNvPr id="2" name="Datumsplatzhalter 1"/>
          <p:cNvSpPr>
            <a:spLocks noGrp="1"/>
          </p:cNvSpPr>
          <p:nvPr>
            <p:ph type="dt" sz="half" idx="15"/>
          </p:nvPr>
        </p:nvSpPr>
        <p:spPr/>
        <p:txBody>
          <a:bodyPr/>
          <a:lstStyle/>
          <a:p>
            <a:fld id="{4680A733-F83D-4D19-AF27-7B0B870C8599}" type="datetime1">
              <a:rPr lang="de-DE" noProof="0" smtClean="0"/>
              <a:t>15.01.2025</a:t>
            </a:fld>
            <a:endParaRPr lang="de-DE" noProof="0"/>
          </a:p>
        </p:txBody>
      </p:sp>
      <p:sp>
        <p:nvSpPr>
          <p:cNvPr id="8" name="Fußzeilenplatzhalter 7"/>
          <p:cNvSpPr>
            <a:spLocks noGrp="1"/>
          </p:cNvSpPr>
          <p:nvPr>
            <p:ph type="ftr" sz="quarter" idx="16"/>
          </p:nvPr>
        </p:nvSpPr>
        <p:spPr/>
        <p:txBody>
          <a:bodyPr/>
          <a:lstStyle/>
          <a:p>
            <a:r>
              <a:rPr lang="de-DE" noProof="0"/>
              <a:t>FZI Forschungszentrum Informatik</a:t>
            </a:r>
          </a:p>
        </p:txBody>
      </p:sp>
      <p:sp>
        <p:nvSpPr>
          <p:cNvPr id="10" name="Foliennummernplatzhalter 9"/>
          <p:cNvSpPr>
            <a:spLocks noGrp="1"/>
          </p:cNvSpPr>
          <p:nvPr>
            <p:ph type="sldNum" sz="quarter" idx="17"/>
          </p:nvPr>
        </p:nvSpPr>
        <p:spPr/>
        <p:txBody>
          <a:bodyPr/>
          <a:lstStyle/>
          <a:p>
            <a:fld id="{02CEFE82-39F2-4F47-8A0C-D5AB3496FA5C}" type="slidenum">
              <a:rPr lang="de-DE" noProof="0" smtClean="0"/>
              <a:pPr/>
              <a:t>‹#›</a:t>
            </a:fld>
            <a:endParaRPr lang="de-DE" noProof="0"/>
          </a:p>
        </p:txBody>
      </p:sp>
    </p:spTree>
    <p:extLst>
      <p:ext uri="{BB962C8B-B14F-4D97-AF65-F5344CB8AC3E}">
        <p14:creationId xmlns:p14="http://schemas.microsoft.com/office/powerpoint/2010/main" val="42273689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svg"/><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7533518-9EBE-9FAC-6BF4-6704A1C5FEE8}"/>
              </a:ext>
            </a:extLst>
          </p:cNvPr>
          <p:cNvGraphicFramePr>
            <a:graphicFrameLocks noChangeAspect="1"/>
          </p:cNvGraphicFramePr>
          <p:nvPr userDrawn="1">
            <p:custDataLst>
              <p:tags r:id="rId35"/>
            </p:custDataLst>
            <p:extLst>
              <p:ext uri="{D42A27DB-BD31-4B8C-83A1-F6EECF244321}">
                <p14:modId xmlns:p14="http://schemas.microsoft.com/office/powerpoint/2010/main" val="54007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416" imgH="416" progId="TCLayout.ActiveDocument.1">
                  <p:embed/>
                </p:oleObj>
              </mc:Choice>
              <mc:Fallback>
                <p:oleObj name="think-cell Folie" r:id="rId36" imgW="416" imgH="416" progId="TCLayout.ActiveDocument.1">
                  <p:embed/>
                  <p:pic>
                    <p:nvPicPr>
                      <p:cNvPr id="9" name="think-cell data - do not delete" hidden="1">
                        <a:extLst>
                          <a:ext uri="{FF2B5EF4-FFF2-40B4-BE49-F238E27FC236}">
                            <a16:creationId xmlns:a16="http://schemas.microsoft.com/office/drawing/2014/main" id="{B7533518-9EBE-9FAC-6BF4-6704A1C5FEE8}"/>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el"/>
          <p:cNvSpPr>
            <a:spLocks noGrp="1"/>
          </p:cNvSpPr>
          <p:nvPr>
            <p:ph type="title"/>
          </p:nvPr>
        </p:nvSpPr>
        <p:spPr bwMode="gray">
          <a:xfrm>
            <a:off x="540000" y="432000"/>
            <a:ext cx="10296000" cy="1080000"/>
          </a:xfrm>
          <a:prstGeom prst="rect">
            <a:avLst/>
          </a:prstGeom>
        </p:spPr>
        <p:txBody>
          <a:bodyPr vert="horz" lIns="0" tIns="0" rIns="0" bIns="0" rtlCol="0" anchor="t">
            <a:noAutofit/>
          </a:bodyPr>
          <a:lstStyle/>
          <a:p>
            <a:r>
              <a:rPr lang="de-DE" noProof="0"/>
              <a:t>Titelmasterformat durch Klicken bearbeiten</a:t>
            </a:r>
          </a:p>
        </p:txBody>
      </p:sp>
      <p:sp>
        <p:nvSpPr>
          <p:cNvPr id="3" name="Inhalt"/>
          <p:cNvSpPr>
            <a:spLocks noGrp="1"/>
          </p:cNvSpPr>
          <p:nvPr>
            <p:ph type="body" idx="1"/>
          </p:nvPr>
        </p:nvSpPr>
        <p:spPr bwMode="gray">
          <a:xfrm>
            <a:off x="540000" y="1512000"/>
            <a:ext cx="10703318" cy="4298400"/>
          </a:xfrm>
          <a:prstGeom prst="rect">
            <a:avLst/>
          </a:prstGeom>
        </p:spPr>
        <p:txBody>
          <a:bodyPr vert="horz" lIns="0" tIns="0" rIns="0" bIns="0" rtlCol="0">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Datum"/>
          <p:cNvSpPr>
            <a:spLocks noGrp="1"/>
          </p:cNvSpPr>
          <p:nvPr>
            <p:ph type="dt" sz="half" idx="2"/>
          </p:nvPr>
        </p:nvSpPr>
        <p:spPr bwMode="gray">
          <a:xfrm>
            <a:off x="10209600" y="6326760"/>
            <a:ext cx="1440000" cy="360000"/>
          </a:xfrm>
          <a:prstGeom prst="rect">
            <a:avLst/>
          </a:prstGeom>
        </p:spPr>
        <p:txBody>
          <a:bodyPr vert="horz" lIns="0" tIns="0" rIns="0" bIns="0" rtlCol="0" anchor="b"/>
          <a:lstStyle>
            <a:lvl1pPr algn="r">
              <a:defRPr sz="1200">
                <a:solidFill>
                  <a:schemeClr val="bg1">
                    <a:lumMod val="50000"/>
                  </a:schemeClr>
                </a:solidFill>
                <a:latin typeface="Source Sans Pro" panose="020B0503030403020204" pitchFamily="34" charset="0"/>
              </a:defRPr>
            </a:lvl1pPr>
          </a:lstStyle>
          <a:p>
            <a:fld id="{4680A733-F83D-4D19-AF27-7B0B870C8599}" type="datetime1">
              <a:rPr lang="de-DE" smtClean="0"/>
              <a:pPr/>
              <a:t>15.01.2025</a:t>
            </a:fld>
            <a:endParaRPr lang="de-DE"/>
          </a:p>
        </p:txBody>
      </p:sp>
      <p:sp>
        <p:nvSpPr>
          <p:cNvPr id="5" name="Fußzeile"/>
          <p:cNvSpPr>
            <a:spLocks noGrp="1"/>
          </p:cNvSpPr>
          <p:nvPr>
            <p:ph type="ftr" sz="quarter" idx="3"/>
          </p:nvPr>
        </p:nvSpPr>
        <p:spPr bwMode="gray">
          <a:xfrm>
            <a:off x="3934800" y="6326760"/>
            <a:ext cx="4320000" cy="360000"/>
          </a:xfrm>
          <a:prstGeom prst="rect">
            <a:avLst/>
          </a:prstGeom>
        </p:spPr>
        <p:txBody>
          <a:bodyPr vert="horz" lIns="0" tIns="0" rIns="0" bIns="0" rtlCol="0" anchor="b"/>
          <a:lstStyle>
            <a:lvl1pPr algn="ctr">
              <a:defRPr sz="1200">
                <a:solidFill>
                  <a:schemeClr val="bg1">
                    <a:lumMod val="50000"/>
                  </a:schemeClr>
                </a:solidFill>
                <a:latin typeface="Source Sans Pro" panose="020B0503030403020204" pitchFamily="34" charset="0"/>
              </a:defRPr>
            </a:lvl1pPr>
          </a:lstStyle>
          <a:p>
            <a:r>
              <a:rPr lang="de-DE"/>
              <a:t>FZI Forschungszentrum Informatik</a:t>
            </a:r>
          </a:p>
        </p:txBody>
      </p:sp>
      <p:sp>
        <p:nvSpPr>
          <p:cNvPr id="6" name="Foliennummer"/>
          <p:cNvSpPr>
            <a:spLocks noGrp="1"/>
          </p:cNvSpPr>
          <p:nvPr>
            <p:ph type="sldNum" sz="quarter" idx="4"/>
          </p:nvPr>
        </p:nvSpPr>
        <p:spPr bwMode="gray">
          <a:xfrm>
            <a:off x="540000" y="6326760"/>
            <a:ext cx="900000" cy="360000"/>
          </a:xfrm>
          <a:prstGeom prst="rect">
            <a:avLst/>
          </a:prstGeom>
        </p:spPr>
        <p:txBody>
          <a:bodyPr vert="horz" lIns="0" tIns="0" rIns="0" bIns="0" rtlCol="0" anchor="b"/>
          <a:lstStyle>
            <a:lvl1pPr algn="l">
              <a:defRPr sz="1200">
                <a:solidFill>
                  <a:schemeClr val="bg1">
                    <a:lumMod val="50000"/>
                  </a:schemeClr>
                </a:solidFill>
                <a:latin typeface="Source Sans Pro" panose="020B0503030403020204" pitchFamily="34" charset="0"/>
              </a:defRPr>
            </a:lvl1pPr>
          </a:lstStyle>
          <a:p>
            <a:fld id="{02CEFE82-39F2-4F47-8A0C-D5AB3496FA5C}" type="slidenum">
              <a:rPr lang="de-DE" smtClean="0"/>
              <a:pPr/>
              <a:t>‹#›</a:t>
            </a:fld>
            <a:endParaRPr lang="de-DE"/>
          </a:p>
        </p:txBody>
      </p:sp>
      <p:pic>
        <p:nvPicPr>
          <p:cNvPr id="7" name="Grafik 6">
            <a:extLst>
              <a:ext uri="{FF2B5EF4-FFF2-40B4-BE49-F238E27FC236}">
                <a16:creationId xmlns:a16="http://schemas.microsoft.com/office/drawing/2014/main" id="{973B52E7-C9D4-467E-B4BD-50A582820026}"/>
              </a:ext>
            </a:extLst>
          </p:cNvPr>
          <p:cNvPicPr>
            <a:picLocks noChangeAspect="1"/>
          </p:cNvPicPr>
          <p:nvPr userDrawn="1"/>
        </p:nvPicPr>
        <p:blipFill>
          <a:blip r:embed="rId38" cstate="print">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11243318" y="418762"/>
            <a:ext cx="406282" cy="700483"/>
          </a:xfrm>
          <a:prstGeom prst="rect">
            <a:avLst/>
          </a:prstGeom>
        </p:spPr>
      </p:pic>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952" r:id="rId1"/>
    <p:sldLayoutId id="2147483956" r:id="rId2"/>
    <p:sldLayoutId id="2147483957" r:id="rId3"/>
    <p:sldLayoutId id="2147483958" r:id="rId4"/>
    <p:sldLayoutId id="2147483898" r:id="rId5"/>
    <p:sldLayoutId id="2147483669" r:id="rId6"/>
    <p:sldLayoutId id="2147483935" r:id="rId7"/>
    <p:sldLayoutId id="2147483929" r:id="rId8"/>
    <p:sldLayoutId id="2147483936" r:id="rId9"/>
    <p:sldLayoutId id="2147483899" r:id="rId10"/>
    <p:sldLayoutId id="2147483953" r:id="rId11"/>
    <p:sldLayoutId id="2147483914" r:id="rId12"/>
    <p:sldLayoutId id="2147483891" r:id="rId13"/>
    <p:sldLayoutId id="2147483894" r:id="rId14"/>
    <p:sldLayoutId id="2147483915" r:id="rId15"/>
    <p:sldLayoutId id="2147483909" r:id="rId16"/>
    <p:sldLayoutId id="2147483939" r:id="rId17"/>
    <p:sldLayoutId id="2147483933" r:id="rId18"/>
    <p:sldLayoutId id="2147483907" r:id="rId19"/>
    <p:sldLayoutId id="2147483916" r:id="rId20"/>
    <p:sldLayoutId id="2147483948" r:id="rId21"/>
    <p:sldLayoutId id="2147483908" r:id="rId22"/>
    <p:sldLayoutId id="2147483911" r:id="rId23"/>
    <p:sldLayoutId id="2147483949" r:id="rId24"/>
    <p:sldLayoutId id="2147483934" r:id="rId25"/>
    <p:sldLayoutId id="2147483932" r:id="rId26"/>
    <p:sldLayoutId id="2147483900" r:id="rId27"/>
    <p:sldLayoutId id="2147483928" r:id="rId28"/>
    <p:sldLayoutId id="2147483927" r:id="rId29"/>
    <p:sldLayoutId id="2147483902" r:id="rId30"/>
    <p:sldLayoutId id="2147483950" r:id="rId31"/>
    <p:sldLayoutId id="2147483951" r:id="rId32"/>
    <p:sldLayoutId id="2147483955" r:id="rId33"/>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marL="571500" indent="-571500" algn="l" defTabSz="914400" rtl="0" eaLnBrk="1" latinLnBrk="0" hangingPunct="1">
        <a:lnSpc>
          <a:spcPct val="90000"/>
        </a:lnSpc>
        <a:spcBef>
          <a:spcPct val="0"/>
        </a:spcBef>
        <a:buClr>
          <a:srgbClr val="002456"/>
        </a:buClr>
        <a:buSzPct val="110000"/>
        <a:buFont typeface="Source Sans Pro SemiBold" panose="020B0603030403020204" pitchFamily="34" charset="0"/>
        <a:buChar char="—"/>
        <a:defRPr sz="3600" b="1" kern="1200">
          <a:solidFill>
            <a:srgbClr val="002456"/>
          </a:solidFill>
          <a:latin typeface="Source Sans Pro" panose="020B0503030403020204" pitchFamily="34" charset="0"/>
          <a:ea typeface="Source Sans Pro" panose="020B0503030403020204" pitchFamily="34" charset="0"/>
          <a:cs typeface="+mj-cs"/>
        </a:defRPr>
      </a:lvl1pPr>
    </p:titleStyle>
    <p:bodyStyle>
      <a:lvl1pPr marL="270000" indent="-270000" algn="l" defTabSz="914400" rtl="0" eaLnBrk="1" latinLnBrk="0" hangingPunct="1">
        <a:lnSpc>
          <a:spcPct val="110000"/>
        </a:lnSpc>
        <a:spcBef>
          <a:spcPts val="0"/>
        </a:spcBef>
        <a:spcAft>
          <a:spcPts val="1000"/>
        </a:spcAft>
        <a:buClr>
          <a:srgbClr val="2FAE7A"/>
        </a:buClr>
        <a:buFont typeface="Source Sans Pro Black" panose="020B0803030403020204" pitchFamily="34" charset="0"/>
        <a:buChar char="‒"/>
        <a:defRPr sz="1600" kern="1200">
          <a:solidFill>
            <a:schemeClr val="tx2">
              <a:lumMod val="75000"/>
            </a:schemeClr>
          </a:solidFill>
          <a:latin typeface="Source Sans Pro" panose="020B0503030403020204" pitchFamily="34" charset="0"/>
          <a:ea typeface="+mn-ea"/>
          <a:cs typeface="+mn-cs"/>
        </a:defRPr>
      </a:lvl1pPr>
      <a:lvl2pPr marL="720000" indent="-270000" algn="l" defTabSz="914400" rtl="0" eaLnBrk="1" latinLnBrk="0" hangingPunct="1">
        <a:lnSpc>
          <a:spcPct val="110000"/>
        </a:lnSpc>
        <a:spcBef>
          <a:spcPts val="0"/>
        </a:spcBef>
        <a:spcAft>
          <a:spcPts val="1000"/>
        </a:spcAft>
        <a:buClr>
          <a:srgbClr val="2FAE7A"/>
        </a:buClr>
        <a:buFont typeface="Source Sans Pro Black" panose="020B0803030403020204" pitchFamily="34" charset="0"/>
        <a:buChar char="‒"/>
        <a:defRPr sz="1400" kern="1200">
          <a:solidFill>
            <a:schemeClr val="tx2">
              <a:lumMod val="75000"/>
            </a:schemeClr>
          </a:solidFill>
          <a:latin typeface="Source Sans Pro" panose="020B0503030403020204" pitchFamily="34" charset="0"/>
          <a:ea typeface="+mn-ea"/>
          <a:cs typeface="+mn-cs"/>
        </a:defRPr>
      </a:lvl2pPr>
      <a:lvl3pPr marL="1080000" indent="-270000" algn="l" defTabSz="914400" rtl="0" eaLnBrk="1" latinLnBrk="0" hangingPunct="1">
        <a:lnSpc>
          <a:spcPct val="110000"/>
        </a:lnSpc>
        <a:spcBef>
          <a:spcPts val="0"/>
        </a:spcBef>
        <a:spcAft>
          <a:spcPts val="1000"/>
        </a:spcAft>
        <a:buClr>
          <a:srgbClr val="2FAE7A"/>
        </a:buClr>
        <a:buFont typeface="Source Sans Pro Black" panose="020B0803030403020204" pitchFamily="34" charset="0"/>
        <a:buChar char="‒"/>
        <a:defRPr sz="1200" kern="1200">
          <a:solidFill>
            <a:schemeClr val="tx2">
              <a:lumMod val="75000"/>
            </a:schemeClr>
          </a:solidFill>
          <a:latin typeface="Source Sans Pro" panose="020B0503030403020204" pitchFamily="34" charset="0"/>
          <a:ea typeface="+mn-ea"/>
          <a:cs typeface="+mn-cs"/>
        </a:defRPr>
      </a:lvl3pPr>
      <a:lvl4pPr marL="1440000" indent="-270000" algn="l" defTabSz="914400" rtl="0" eaLnBrk="1" latinLnBrk="0" hangingPunct="1">
        <a:lnSpc>
          <a:spcPct val="110000"/>
        </a:lnSpc>
        <a:spcBef>
          <a:spcPts val="0"/>
        </a:spcBef>
        <a:spcAft>
          <a:spcPts val="1000"/>
        </a:spcAft>
        <a:buClr>
          <a:srgbClr val="2FAE7A"/>
        </a:buClr>
        <a:buFont typeface="Source Sans Pro Black" panose="020B0803030403020204" pitchFamily="34" charset="0"/>
        <a:buChar char="‒"/>
        <a:defRPr sz="1050" kern="1200">
          <a:solidFill>
            <a:schemeClr val="tx2">
              <a:lumMod val="75000"/>
            </a:schemeClr>
          </a:solidFill>
          <a:latin typeface="Source Sans Pro" panose="020B0503030403020204" pitchFamily="34" charset="0"/>
          <a:ea typeface="+mn-ea"/>
          <a:cs typeface="+mn-cs"/>
        </a:defRPr>
      </a:lvl4pPr>
      <a:lvl5pPr marL="1800000" indent="-270000" algn="l" defTabSz="914400" rtl="0" eaLnBrk="1" latinLnBrk="0" hangingPunct="1">
        <a:lnSpc>
          <a:spcPct val="110000"/>
        </a:lnSpc>
        <a:spcBef>
          <a:spcPts val="0"/>
        </a:spcBef>
        <a:spcAft>
          <a:spcPts val="1000"/>
        </a:spcAft>
        <a:buClr>
          <a:srgbClr val="2FAE7A"/>
        </a:buClr>
        <a:buFont typeface="Source Sans Pro Black" panose="020B0803030403020204" pitchFamily="34" charset="0"/>
        <a:buChar char="‒"/>
        <a:defRPr sz="900" kern="1200">
          <a:solidFill>
            <a:schemeClr val="tx2">
              <a:lumMod val="75000"/>
            </a:schemeClr>
          </a:solidFill>
          <a:latin typeface="Source Sans Pro" panose="020B05030304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62" userDrawn="1">
          <p15:clr>
            <a:srgbClr val="F26B43"/>
          </p15:clr>
        </p15:guide>
        <p15:guide id="2" orient="horz" pos="951" userDrawn="1">
          <p15:clr>
            <a:srgbClr val="F26B43"/>
          </p15:clr>
        </p15:guide>
        <p15:guide id="3" pos="342" userDrawn="1">
          <p15:clr>
            <a:srgbClr val="F26B43"/>
          </p15:clr>
        </p15:guide>
        <p15:guide id="4" pos="7336" userDrawn="1">
          <p15:clr>
            <a:srgbClr val="F26B43"/>
          </p15:clr>
        </p15:guide>
        <p15:guide id="5" orient="horz" pos="5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6.svg"/><Relationship Id="rId2" Type="http://schemas.openxmlformats.org/officeDocument/2006/relationships/slideLayout" Target="../slideLayouts/slideLayout32.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7.bin"/><Relationship Id="rId7" Type="http://schemas.openxmlformats.org/officeDocument/2006/relationships/image" Target="../media/image18.jpeg"/><Relationship Id="rId2" Type="http://schemas.openxmlformats.org/officeDocument/2006/relationships/slideLayout" Target="../slideLayouts/slideLayout33.xml"/><Relationship Id="rId1" Type="http://schemas.openxmlformats.org/officeDocument/2006/relationships/tags" Target="../tags/tag1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9.bin"/><Relationship Id="rId7" Type="http://schemas.openxmlformats.org/officeDocument/2006/relationships/image" Target="../media/image11.png"/><Relationship Id="rId2" Type="http://schemas.openxmlformats.org/officeDocument/2006/relationships/slideLayout" Target="../slideLayouts/slideLayout33.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9.png"/><Relationship Id="rId4" Type="http://schemas.openxmlformats.org/officeDocument/2006/relationships/image" Target="../media/image1.emf"/><Relationship Id="rId9" Type="http://schemas.openxmlformats.org/officeDocument/2006/relationships/image" Target="../media/image17.svg"/></Relationships>
</file>

<file path=ppt/slides/_rels/slide12.xml.rels><?xml version="1.0" encoding="UTF-8" standalone="yes"?>
<Relationships xmlns="http://schemas.openxmlformats.org/package/2006/relationships"><Relationship Id="rId117" Type="http://schemas.openxmlformats.org/officeDocument/2006/relationships/image" Target="../media/image74.png"/><Relationship Id="rId21" Type="http://schemas.openxmlformats.org/officeDocument/2006/relationships/image" Target="../media/image27.png"/><Relationship Id="rId42" Type="http://schemas.openxmlformats.org/officeDocument/2006/relationships/customXml" Target="../ink/ink20.xml"/><Relationship Id="rId47" Type="http://schemas.openxmlformats.org/officeDocument/2006/relationships/image" Target="../media/image40.png"/><Relationship Id="rId63" Type="http://schemas.openxmlformats.org/officeDocument/2006/relationships/customXml" Target="../ink/ink31.xml"/><Relationship Id="rId68" Type="http://schemas.openxmlformats.org/officeDocument/2006/relationships/image" Target="../media/image50.png"/><Relationship Id="rId84" Type="http://schemas.openxmlformats.org/officeDocument/2006/relationships/customXml" Target="../ink/ink42.xml"/><Relationship Id="rId89" Type="http://schemas.openxmlformats.org/officeDocument/2006/relationships/image" Target="../media/image60.png"/><Relationship Id="rId112" Type="http://schemas.openxmlformats.org/officeDocument/2006/relationships/customXml" Target="../ink/ink56.xml"/><Relationship Id="rId16" Type="http://schemas.openxmlformats.org/officeDocument/2006/relationships/customXml" Target="../ink/ink7.xml"/><Relationship Id="rId107" Type="http://schemas.openxmlformats.org/officeDocument/2006/relationships/image" Target="../media/image69.png"/><Relationship Id="rId11" Type="http://schemas.openxmlformats.org/officeDocument/2006/relationships/image" Target="../media/image22.png"/><Relationship Id="rId32" Type="http://schemas.openxmlformats.org/officeDocument/2006/relationships/customXml" Target="../ink/ink15.xml"/><Relationship Id="rId37" Type="http://schemas.openxmlformats.org/officeDocument/2006/relationships/image" Target="../media/image35.png"/><Relationship Id="rId53" Type="http://schemas.openxmlformats.org/officeDocument/2006/relationships/customXml" Target="../ink/ink26.xml"/><Relationship Id="rId58" Type="http://schemas.openxmlformats.org/officeDocument/2006/relationships/image" Target="../media/image45.png"/><Relationship Id="rId74" Type="http://schemas.openxmlformats.org/officeDocument/2006/relationships/image" Target="../media/image53.png"/><Relationship Id="rId79" Type="http://schemas.openxmlformats.org/officeDocument/2006/relationships/image" Target="../media/image55.png"/><Relationship Id="rId102" Type="http://schemas.openxmlformats.org/officeDocument/2006/relationships/customXml" Target="../ink/ink51.xml"/><Relationship Id="rId123" Type="http://schemas.openxmlformats.org/officeDocument/2006/relationships/image" Target="../media/image77.png"/><Relationship Id="rId128" Type="http://schemas.openxmlformats.org/officeDocument/2006/relationships/customXml" Target="../ink/ink64.xml"/><Relationship Id="rId5" Type="http://schemas.openxmlformats.org/officeDocument/2006/relationships/customXml" Target="../ink/ink1.xml"/><Relationship Id="rId90" Type="http://schemas.openxmlformats.org/officeDocument/2006/relationships/customXml" Target="../ink/ink45.xml"/><Relationship Id="rId95" Type="http://schemas.openxmlformats.org/officeDocument/2006/relationships/image" Target="../media/image63.png"/><Relationship Id="rId22" Type="http://schemas.openxmlformats.org/officeDocument/2006/relationships/customXml" Target="../ink/ink10.xml"/><Relationship Id="rId27" Type="http://schemas.openxmlformats.org/officeDocument/2006/relationships/image" Target="../media/image30.png"/><Relationship Id="rId43" Type="http://schemas.openxmlformats.org/officeDocument/2006/relationships/image" Target="../media/image38.png"/><Relationship Id="rId48" Type="http://schemas.openxmlformats.org/officeDocument/2006/relationships/customXml" Target="../ink/ink23.xml"/><Relationship Id="rId64" Type="http://schemas.openxmlformats.org/officeDocument/2006/relationships/image" Target="../media/image48.png"/><Relationship Id="rId69" Type="http://schemas.openxmlformats.org/officeDocument/2006/relationships/customXml" Target="../ink/ink34.xml"/><Relationship Id="rId113" Type="http://schemas.openxmlformats.org/officeDocument/2006/relationships/image" Target="../media/image72.png"/><Relationship Id="rId118" Type="http://schemas.openxmlformats.org/officeDocument/2006/relationships/customXml" Target="../ink/ink59.xml"/><Relationship Id="rId80" Type="http://schemas.openxmlformats.org/officeDocument/2006/relationships/customXml" Target="../ink/ink40.xml"/><Relationship Id="rId85" Type="http://schemas.openxmlformats.org/officeDocument/2006/relationships/image" Target="../media/image58.png"/><Relationship Id="rId12" Type="http://schemas.openxmlformats.org/officeDocument/2006/relationships/customXml" Target="../ink/ink5.xml"/><Relationship Id="rId17" Type="http://schemas.openxmlformats.org/officeDocument/2006/relationships/image" Target="../media/image25.png"/><Relationship Id="rId33" Type="http://schemas.openxmlformats.org/officeDocument/2006/relationships/image" Target="../media/image33.png"/><Relationship Id="rId38" Type="http://schemas.openxmlformats.org/officeDocument/2006/relationships/customXml" Target="../ink/ink18.xml"/><Relationship Id="rId59" Type="http://schemas.openxmlformats.org/officeDocument/2006/relationships/customXml" Target="../ink/ink29.xml"/><Relationship Id="rId103" Type="http://schemas.openxmlformats.org/officeDocument/2006/relationships/image" Target="../media/image67.png"/><Relationship Id="rId108" Type="http://schemas.openxmlformats.org/officeDocument/2006/relationships/customXml" Target="../ink/ink54.xml"/><Relationship Id="rId124" Type="http://schemas.openxmlformats.org/officeDocument/2006/relationships/customXml" Target="../ink/ink62.xml"/><Relationship Id="rId129" Type="http://schemas.openxmlformats.org/officeDocument/2006/relationships/image" Target="../media/image80.png"/><Relationship Id="rId54" Type="http://schemas.openxmlformats.org/officeDocument/2006/relationships/image" Target="../media/image43.png"/><Relationship Id="rId70" Type="http://schemas.openxmlformats.org/officeDocument/2006/relationships/image" Target="../media/image51.png"/><Relationship Id="rId75" Type="http://schemas.openxmlformats.org/officeDocument/2006/relationships/customXml" Target="../ink/ink37.xml"/><Relationship Id="rId91" Type="http://schemas.openxmlformats.org/officeDocument/2006/relationships/image" Target="../media/image61.png"/><Relationship Id="rId96" Type="http://schemas.openxmlformats.org/officeDocument/2006/relationships/customXml" Target="../ink/ink48.xml"/><Relationship Id="rId1" Type="http://schemas.openxmlformats.org/officeDocument/2006/relationships/tags" Target="../tags/tag13.xml"/><Relationship Id="rId6" Type="http://schemas.openxmlformats.org/officeDocument/2006/relationships/image" Target="../media/image20.png"/><Relationship Id="rId23" Type="http://schemas.openxmlformats.org/officeDocument/2006/relationships/image" Target="../media/image28.png"/><Relationship Id="rId28" Type="http://schemas.openxmlformats.org/officeDocument/2006/relationships/customXml" Target="../ink/ink13.xml"/><Relationship Id="rId49" Type="http://schemas.openxmlformats.org/officeDocument/2006/relationships/customXml" Target="../ink/ink24.xml"/><Relationship Id="rId114" Type="http://schemas.openxmlformats.org/officeDocument/2006/relationships/customXml" Target="../ink/ink57.xml"/><Relationship Id="rId119" Type="http://schemas.openxmlformats.org/officeDocument/2006/relationships/image" Target="../media/image75.png"/><Relationship Id="rId44" Type="http://schemas.openxmlformats.org/officeDocument/2006/relationships/customXml" Target="../ink/ink21.xml"/><Relationship Id="rId60" Type="http://schemas.openxmlformats.org/officeDocument/2006/relationships/image" Target="../media/image46.png"/><Relationship Id="rId65" Type="http://schemas.openxmlformats.org/officeDocument/2006/relationships/customXml" Target="../ink/ink32.xml"/><Relationship Id="rId81" Type="http://schemas.openxmlformats.org/officeDocument/2006/relationships/image" Target="../media/image56.png"/><Relationship Id="rId86" Type="http://schemas.openxmlformats.org/officeDocument/2006/relationships/customXml" Target="../ink/ink43.xml"/><Relationship Id="rId130" Type="http://schemas.openxmlformats.org/officeDocument/2006/relationships/customXml" Target="../ink/ink65.xml"/><Relationship Id="rId13" Type="http://schemas.openxmlformats.org/officeDocument/2006/relationships/image" Target="../media/image23.png"/><Relationship Id="rId18" Type="http://schemas.openxmlformats.org/officeDocument/2006/relationships/customXml" Target="../ink/ink8.xml"/><Relationship Id="rId39" Type="http://schemas.openxmlformats.org/officeDocument/2006/relationships/image" Target="../media/image36.png"/><Relationship Id="rId109" Type="http://schemas.openxmlformats.org/officeDocument/2006/relationships/image" Target="../media/image70.png"/><Relationship Id="rId34" Type="http://schemas.openxmlformats.org/officeDocument/2006/relationships/customXml" Target="../ink/ink16.xml"/><Relationship Id="rId50" Type="http://schemas.openxmlformats.org/officeDocument/2006/relationships/image" Target="../media/image41.png"/><Relationship Id="rId55" Type="http://schemas.openxmlformats.org/officeDocument/2006/relationships/customXml" Target="../ink/ink27.xml"/><Relationship Id="rId76" Type="http://schemas.openxmlformats.org/officeDocument/2006/relationships/customXml" Target="../ink/ink38.xml"/><Relationship Id="rId97" Type="http://schemas.openxmlformats.org/officeDocument/2006/relationships/image" Target="../media/image64.png"/><Relationship Id="rId104" Type="http://schemas.openxmlformats.org/officeDocument/2006/relationships/customXml" Target="../ink/ink52.xml"/><Relationship Id="rId120" Type="http://schemas.openxmlformats.org/officeDocument/2006/relationships/customXml" Target="../ink/ink60.xml"/><Relationship Id="rId125" Type="http://schemas.openxmlformats.org/officeDocument/2006/relationships/image" Target="../media/image78.png"/><Relationship Id="rId7" Type="http://schemas.openxmlformats.org/officeDocument/2006/relationships/customXml" Target="../ink/ink2.xml"/><Relationship Id="rId71" Type="http://schemas.openxmlformats.org/officeDocument/2006/relationships/customXml" Target="../ink/ink35.xml"/><Relationship Id="rId92" Type="http://schemas.openxmlformats.org/officeDocument/2006/relationships/customXml" Target="../ink/ink46.xml"/><Relationship Id="rId2" Type="http://schemas.openxmlformats.org/officeDocument/2006/relationships/slideLayout" Target="../slideLayouts/slideLayout33.xml"/><Relationship Id="rId29" Type="http://schemas.openxmlformats.org/officeDocument/2006/relationships/image" Target="../media/image31.png"/><Relationship Id="rId24" Type="http://schemas.openxmlformats.org/officeDocument/2006/relationships/customXml" Target="../ink/ink11.xml"/><Relationship Id="rId40" Type="http://schemas.openxmlformats.org/officeDocument/2006/relationships/customXml" Target="../ink/ink19.xml"/><Relationship Id="rId45" Type="http://schemas.openxmlformats.org/officeDocument/2006/relationships/image" Target="../media/image39.png"/><Relationship Id="rId66" Type="http://schemas.openxmlformats.org/officeDocument/2006/relationships/image" Target="../media/image49.png"/><Relationship Id="rId87" Type="http://schemas.openxmlformats.org/officeDocument/2006/relationships/image" Target="../media/image59.png"/><Relationship Id="rId110" Type="http://schemas.openxmlformats.org/officeDocument/2006/relationships/customXml" Target="../ink/ink55.xml"/><Relationship Id="rId115" Type="http://schemas.openxmlformats.org/officeDocument/2006/relationships/image" Target="../media/image73.png"/><Relationship Id="rId131" Type="http://schemas.openxmlformats.org/officeDocument/2006/relationships/image" Target="../media/image81.png"/><Relationship Id="rId61" Type="http://schemas.openxmlformats.org/officeDocument/2006/relationships/customXml" Target="../ink/ink30.xml"/><Relationship Id="rId82" Type="http://schemas.openxmlformats.org/officeDocument/2006/relationships/customXml" Target="../ink/ink41.xml"/><Relationship Id="rId19" Type="http://schemas.openxmlformats.org/officeDocument/2006/relationships/image" Target="../media/image26.png"/><Relationship Id="rId14" Type="http://schemas.openxmlformats.org/officeDocument/2006/relationships/customXml" Target="../ink/ink6.xml"/><Relationship Id="rId30" Type="http://schemas.openxmlformats.org/officeDocument/2006/relationships/customXml" Target="../ink/ink14.xml"/><Relationship Id="rId35" Type="http://schemas.openxmlformats.org/officeDocument/2006/relationships/image" Target="../media/image34.png"/><Relationship Id="rId56" Type="http://schemas.openxmlformats.org/officeDocument/2006/relationships/image" Target="../media/image44.png"/><Relationship Id="rId77" Type="http://schemas.openxmlformats.org/officeDocument/2006/relationships/image" Target="../media/image54.png"/><Relationship Id="rId100" Type="http://schemas.openxmlformats.org/officeDocument/2006/relationships/customXml" Target="../ink/ink50.xml"/><Relationship Id="rId105" Type="http://schemas.openxmlformats.org/officeDocument/2006/relationships/image" Target="../media/image68.png"/><Relationship Id="rId126" Type="http://schemas.openxmlformats.org/officeDocument/2006/relationships/customXml" Target="../ink/ink63.xml"/><Relationship Id="rId8" Type="http://schemas.openxmlformats.org/officeDocument/2006/relationships/customXml" Target="../ink/ink3.xml"/><Relationship Id="rId51" Type="http://schemas.openxmlformats.org/officeDocument/2006/relationships/customXml" Target="../ink/ink25.xml"/><Relationship Id="rId72" Type="http://schemas.openxmlformats.org/officeDocument/2006/relationships/image" Target="../media/image52.png"/><Relationship Id="rId93" Type="http://schemas.openxmlformats.org/officeDocument/2006/relationships/image" Target="../media/image62.png"/><Relationship Id="rId98" Type="http://schemas.openxmlformats.org/officeDocument/2006/relationships/customXml" Target="../ink/ink49.xml"/><Relationship Id="rId121" Type="http://schemas.openxmlformats.org/officeDocument/2006/relationships/image" Target="../media/image76.png"/><Relationship Id="rId3" Type="http://schemas.openxmlformats.org/officeDocument/2006/relationships/oleObject" Target="../embeddings/oleObject5.bin"/><Relationship Id="rId25" Type="http://schemas.openxmlformats.org/officeDocument/2006/relationships/image" Target="../media/image29.png"/><Relationship Id="rId46" Type="http://schemas.openxmlformats.org/officeDocument/2006/relationships/customXml" Target="../ink/ink22.xml"/><Relationship Id="rId67" Type="http://schemas.openxmlformats.org/officeDocument/2006/relationships/customXml" Target="../ink/ink33.xml"/><Relationship Id="rId116" Type="http://schemas.openxmlformats.org/officeDocument/2006/relationships/customXml" Target="../ink/ink58.xml"/><Relationship Id="rId20" Type="http://schemas.openxmlformats.org/officeDocument/2006/relationships/customXml" Target="../ink/ink9.xml"/><Relationship Id="rId41" Type="http://schemas.openxmlformats.org/officeDocument/2006/relationships/image" Target="../media/image37.png"/><Relationship Id="rId62" Type="http://schemas.openxmlformats.org/officeDocument/2006/relationships/image" Target="../media/image47.png"/><Relationship Id="rId83" Type="http://schemas.openxmlformats.org/officeDocument/2006/relationships/image" Target="../media/image57.png"/><Relationship Id="rId88" Type="http://schemas.openxmlformats.org/officeDocument/2006/relationships/customXml" Target="../ink/ink44.xml"/><Relationship Id="rId111" Type="http://schemas.openxmlformats.org/officeDocument/2006/relationships/image" Target="../media/image71.png"/><Relationship Id="rId15" Type="http://schemas.openxmlformats.org/officeDocument/2006/relationships/image" Target="../media/image24.png"/><Relationship Id="rId36" Type="http://schemas.openxmlformats.org/officeDocument/2006/relationships/customXml" Target="../ink/ink17.xml"/><Relationship Id="rId57" Type="http://schemas.openxmlformats.org/officeDocument/2006/relationships/customXml" Target="../ink/ink28.xml"/><Relationship Id="rId106" Type="http://schemas.openxmlformats.org/officeDocument/2006/relationships/customXml" Target="../ink/ink53.xml"/><Relationship Id="rId127" Type="http://schemas.openxmlformats.org/officeDocument/2006/relationships/image" Target="../media/image79.png"/><Relationship Id="rId10" Type="http://schemas.openxmlformats.org/officeDocument/2006/relationships/customXml" Target="../ink/ink4.xml"/><Relationship Id="rId31" Type="http://schemas.openxmlformats.org/officeDocument/2006/relationships/image" Target="../media/image32.png"/><Relationship Id="rId52" Type="http://schemas.openxmlformats.org/officeDocument/2006/relationships/image" Target="../media/image42.png"/><Relationship Id="rId73" Type="http://schemas.openxmlformats.org/officeDocument/2006/relationships/customXml" Target="../ink/ink36.xml"/><Relationship Id="rId78" Type="http://schemas.openxmlformats.org/officeDocument/2006/relationships/customXml" Target="../ink/ink39.xml"/><Relationship Id="rId94" Type="http://schemas.openxmlformats.org/officeDocument/2006/relationships/customXml" Target="../ink/ink47.xml"/><Relationship Id="rId99" Type="http://schemas.openxmlformats.org/officeDocument/2006/relationships/image" Target="../media/image65.png"/><Relationship Id="rId101" Type="http://schemas.openxmlformats.org/officeDocument/2006/relationships/image" Target="../media/image66.png"/><Relationship Id="rId122" Type="http://schemas.openxmlformats.org/officeDocument/2006/relationships/customXml" Target="../ink/ink61.xml"/><Relationship Id="rId4" Type="http://schemas.openxmlformats.org/officeDocument/2006/relationships/image" Target="../media/image1.emf"/><Relationship Id="rId9" Type="http://schemas.openxmlformats.org/officeDocument/2006/relationships/image" Target="../media/image21.png"/><Relationship Id="rId26" Type="http://schemas.openxmlformats.org/officeDocument/2006/relationships/customXml" Target="../ink/ink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3.xml"/><Relationship Id="rId1" Type="http://schemas.openxmlformats.org/officeDocument/2006/relationships/tags" Target="../tags/tag15.xml"/><Relationship Id="rId5" Type="http://schemas.openxmlformats.org/officeDocument/2006/relationships/image" Target="../media/image82.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3.xml"/><Relationship Id="rId1" Type="http://schemas.openxmlformats.org/officeDocument/2006/relationships/tags" Target="../tags/tag16.xml"/><Relationship Id="rId5" Type="http://schemas.openxmlformats.org/officeDocument/2006/relationships/image" Target="../media/image82.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3.xml"/><Relationship Id="rId1" Type="http://schemas.openxmlformats.org/officeDocument/2006/relationships/tags" Target="../tags/tag17.xml"/><Relationship Id="rId5" Type="http://schemas.openxmlformats.org/officeDocument/2006/relationships/image" Target="../media/image82.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3.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3.xml"/><Relationship Id="rId1" Type="http://schemas.openxmlformats.org/officeDocument/2006/relationships/tags" Target="../tags/tag19.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3.xml"/><Relationship Id="rId1" Type="http://schemas.openxmlformats.org/officeDocument/2006/relationships/tags" Target="../tags/tag2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3.xml"/><Relationship Id="rId1" Type="http://schemas.openxmlformats.org/officeDocument/2006/relationships/tags" Target="../tags/tag21.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7.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3.xml"/><Relationship Id="rId1" Type="http://schemas.openxmlformats.org/officeDocument/2006/relationships/tags" Target="../tags/tag2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3.xml"/><Relationship Id="rId1" Type="http://schemas.openxmlformats.org/officeDocument/2006/relationships/tags" Target="../tags/tag2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3.xml"/><Relationship Id="rId1" Type="http://schemas.openxmlformats.org/officeDocument/2006/relationships/tags" Target="../tags/tag2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3.xml"/><Relationship Id="rId1" Type="http://schemas.openxmlformats.org/officeDocument/2006/relationships/tags" Target="../tags/tag26.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image" Target="../media/image87.svg"/><Relationship Id="rId13" Type="http://schemas.openxmlformats.org/officeDocument/2006/relationships/image" Target="../media/image91.png"/><Relationship Id="rId3" Type="http://schemas.openxmlformats.org/officeDocument/2006/relationships/customXml" Target="../ink/ink66.xml"/><Relationship Id="rId7" Type="http://schemas.openxmlformats.org/officeDocument/2006/relationships/image" Target="../media/image86.png"/><Relationship Id="rId12" Type="http://schemas.openxmlformats.org/officeDocument/2006/relationships/image" Target="../media/image90.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85.svg"/><Relationship Id="rId11" Type="http://schemas.openxmlformats.org/officeDocument/2006/relationships/customXml" Target="../ink/ink67.xml"/><Relationship Id="rId5" Type="http://schemas.openxmlformats.org/officeDocument/2006/relationships/image" Target="../media/image84.png"/><Relationship Id="rId10" Type="http://schemas.openxmlformats.org/officeDocument/2006/relationships/image" Target="../media/image89.svg"/><Relationship Id="rId4" Type="http://schemas.openxmlformats.org/officeDocument/2006/relationships/image" Target="../media/image83.png"/><Relationship Id="rId9" Type="http://schemas.openxmlformats.org/officeDocument/2006/relationships/image" Target="../media/image88.png"/></Relationships>
</file>

<file path=ppt/slides/_rels/slide2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3.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6.bin"/><Relationship Id="rId7" Type="http://schemas.openxmlformats.org/officeDocument/2006/relationships/image" Target="../media/image9.png"/><Relationship Id="rId2" Type="http://schemas.openxmlformats.org/officeDocument/2006/relationships/slideLayout" Target="../slideLayouts/slideLayout33.xml"/><Relationship Id="rId1" Type="http://schemas.openxmlformats.org/officeDocument/2006/relationships/tags" Target="../tags/tag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4.svg"/><Relationship Id="rId2" Type="http://schemas.openxmlformats.org/officeDocument/2006/relationships/slideLayout" Target="../slideLayouts/slideLayout33.xml"/><Relationship Id="rId1" Type="http://schemas.openxmlformats.org/officeDocument/2006/relationships/tags" Target="../tags/tag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8.bin"/><Relationship Id="rId7" Type="http://schemas.openxmlformats.org/officeDocument/2006/relationships/image" Target="../media/image11.png"/><Relationship Id="rId2" Type="http://schemas.openxmlformats.org/officeDocument/2006/relationships/slideLayout" Target="../slideLayouts/slideLayout33.xml"/><Relationship Id="rId1" Type="http://schemas.openxmlformats.org/officeDocument/2006/relationships/tags" Target="../tags/tag8.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5.png"/><Relationship Id="rId4" Type="http://schemas.openxmlformats.org/officeDocument/2006/relationships/image" Target="../media/image1.emf"/><Relationship Id="rId9" Type="http://schemas.openxmlformats.org/officeDocument/2006/relationships/image" Target="../media/image14.sv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8.bin"/><Relationship Id="rId7" Type="http://schemas.openxmlformats.org/officeDocument/2006/relationships/image" Target="../media/image11.png"/><Relationship Id="rId2" Type="http://schemas.openxmlformats.org/officeDocument/2006/relationships/slideLayout" Target="../slideLayouts/slideLayout3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5.png"/><Relationship Id="rId4" Type="http://schemas.openxmlformats.org/officeDocument/2006/relationships/image" Target="../media/image1.emf"/><Relationship Id="rId9" Type="http://schemas.openxmlformats.org/officeDocument/2006/relationships/image" Target="../media/image14.svg"/></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8.bin"/><Relationship Id="rId7" Type="http://schemas.openxmlformats.org/officeDocument/2006/relationships/image" Target="../media/image11.png"/><Relationship Id="rId2" Type="http://schemas.openxmlformats.org/officeDocument/2006/relationships/slideLayout" Target="../slideLayouts/slideLayout33.xml"/><Relationship Id="rId1" Type="http://schemas.openxmlformats.org/officeDocument/2006/relationships/tags" Target="../tags/tag10.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5.png"/><Relationship Id="rId4" Type="http://schemas.openxmlformats.org/officeDocument/2006/relationships/image" Target="../media/image1.emf"/><Relationship Id="rId9" Type="http://schemas.openxmlformats.org/officeDocument/2006/relationships/image" Target="../media/image1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E86BB47-C6C5-EC5B-AFC8-EE3AE264EB67}"/>
              </a:ext>
            </a:extLst>
          </p:cNvPr>
          <p:cNvGraphicFramePr>
            <a:graphicFrameLocks noChangeAspect="1"/>
          </p:cNvGraphicFramePr>
          <p:nvPr>
            <p:custDataLst>
              <p:tags r:id="rId1"/>
            </p:custDataLst>
            <p:extLst>
              <p:ext uri="{D42A27DB-BD31-4B8C-83A1-F6EECF244321}">
                <p14:modId xmlns:p14="http://schemas.microsoft.com/office/powerpoint/2010/main" val="198599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think-cell data - do not delete" hidden="1">
                        <a:extLst>
                          <a:ext uri="{FF2B5EF4-FFF2-40B4-BE49-F238E27FC236}">
                            <a16:creationId xmlns:a16="http://schemas.microsoft.com/office/drawing/2014/main" id="{2E86BB47-C6C5-EC5B-AFC8-EE3AE264EB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Bildplatzhalter 8">
            <a:extLst>
              <a:ext uri="{FF2B5EF4-FFF2-40B4-BE49-F238E27FC236}">
                <a16:creationId xmlns:a16="http://schemas.microsoft.com/office/drawing/2014/main" id="{19E55559-D144-4806-827B-02475CC07C56}"/>
              </a:ext>
            </a:extLst>
          </p:cNvPr>
          <p:cNvPicPr>
            <a:picLocks noGrp="1" noChangeAspect="1"/>
          </p:cNvPicPr>
          <p:nvPr>
            <p:ph type="pic" sz="quarter" idx="16"/>
          </p:nvPr>
        </p:nvPicPr>
        <p:blipFill>
          <a:blip r:embed="rId5"/>
          <a:srcRect l="5508" r="5508"/>
          <a:stretch>
            <a:fillRect/>
          </a:stretch>
        </p:blipFill>
        <p:spPr>
          <a:xfrm>
            <a:off x="3503997" y="-10885"/>
            <a:ext cx="8741226" cy="6912883"/>
          </a:xfrm>
        </p:spPr>
      </p:pic>
      <p:sp>
        <p:nvSpPr>
          <p:cNvPr id="3" name="Textplatzhalter 2">
            <a:extLst>
              <a:ext uri="{FF2B5EF4-FFF2-40B4-BE49-F238E27FC236}">
                <a16:creationId xmlns:a16="http://schemas.microsoft.com/office/drawing/2014/main" id="{D2F1914C-8C39-3CBD-AB25-48314E8D0B80}"/>
              </a:ext>
            </a:extLst>
          </p:cNvPr>
          <p:cNvSpPr>
            <a:spLocks noGrp="1"/>
          </p:cNvSpPr>
          <p:nvPr>
            <p:ph type="body" sz="quarter" idx="13"/>
          </p:nvPr>
        </p:nvSpPr>
        <p:spPr/>
        <p:txBody>
          <a:bodyPr/>
          <a:lstStyle/>
          <a:p>
            <a:r>
              <a:rPr lang="de-DE"/>
              <a:t>FZI Forschungszentrum Informatik</a:t>
            </a:r>
          </a:p>
        </p:txBody>
      </p:sp>
      <p:sp>
        <p:nvSpPr>
          <p:cNvPr id="4" name="Titel 3">
            <a:extLst>
              <a:ext uri="{FF2B5EF4-FFF2-40B4-BE49-F238E27FC236}">
                <a16:creationId xmlns:a16="http://schemas.microsoft.com/office/drawing/2014/main" id="{2D0128DC-89C0-1583-961D-8335A5CB08BA}"/>
              </a:ext>
            </a:extLst>
          </p:cNvPr>
          <p:cNvSpPr>
            <a:spLocks noGrp="1"/>
          </p:cNvSpPr>
          <p:nvPr>
            <p:ph type="title"/>
          </p:nvPr>
        </p:nvSpPr>
        <p:spPr/>
        <p:txBody>
          <a:bodyPr vert="horz"/>
          <a:lstStyle/>
          <a:p>
            <a:r>
              <a:rPr lang="de-DE">
                <a:solidFill>
                  <a:schemeClr val="accent2"/>
                </a:solidFill>
              </a:rPr>
              <a:t>Seminar:</a:t>
            </a:r>
            <a:br>
              <a:rPr lang="de-DE"/>
            </a:br>
            <a:r>
              <a:rPr lang="en-US"/>
              <a:t>Explainable Machine Learning for Time Series</a:t>
            </a:r>
            <a:endParaRPr lang="de-DE"/>
          </a:p>
        </p:txBody>
      </p:sp>
      <p:sp>
        <p:nvSpPr>
          <p:cNvPr id="5" name="Bildplatzhalter 4">
            <a:extLst>
              <a:ext uri="{FF2B5EF4-FFF2-40B4-BE49-F238E27FC236}">
                <a16:creationId xmlns:a16="http://schemas.microsoft.com/office/drawing/2014/main" id="{B04E6BA0-A026-B51B-271D-F78B97246391}"/>
              </a:ext>
            </a:extLst>
          </p:cNvPr>
          <p:cNvSpPr>
            <a:spLocks noGrp="1"/>
          </p:cNvSpPr>
          <p:nvPr>
            <p:ph type="pic" sz="quarter" idx="15"/>
          </p:nvPr>
        </p:nvSpPr>
        <p:spPr/>
        <p:txBody>
          <a:bodyPr/>
          <a:lstStyle/>
          <a:p>
            <a:endParaRPr lang="de-DE"/>
          </a:p>
        </p:txBody>
      </p:sp>
      <p:sp>
        <p:nvSpPr>
          <p:cNvPr id="6" name="Freihandform: Form 5">
            <a:extLst>
              <a:ext uri="{FF2B5EF4-FFF2-40B4-BE49-F238E27FC236}">
                <a16:creationId xmlns:a16="http://schemas.microsoft.com/office/drawing/2014/main" id="{954CF21D-BE80-446C-8DA5-DF80E39E1C52}"/>
              </a:ext>
            </a:extLst>
          </p:cNvPr>
          <p:cNvSpPr/>
          <p:nvPr/>
        </p:nvSpPr>
        <p:spPr>
          <a:xfrm>
            <a:off x="9522823" y="-97609"/>
            <a:ext cx="2722400" cy="2605677"/>
          </a:xfrm>
          <a:custGeom>
            <a:avLst/>
            <a:gdLst>
              <a:gd name="connsiteX0" fmla="*/ 0 w 2338252"/>
              <a:gd name="connsiteY0" fmla="*/ 26125 h 2508068"/>
              <a:gd name="connsiteX1" fmla="*/ 2338252 w 2338252"/>
              <a:gd name="connsiteY1" fmla="*/ 2508068 h 2508068"/>
              <a:gd name="connsiteX2" fmla="*/ 2312126 w 2338252"/>
              <a:gd name="connsiteY2" fmla="*/ 0 h 2508068"/>
              <a:gd name="connsiteX3" fmla="*/ 0 w 2338252"/>
              <a:gd name="connsiteY3" fmla="*/ 26125 h 2508068"/>
            </a:gdLst>
            <a:ahLst/>
            <a:cxnLst>
              <a:cxn ang="0">
                <a:pos x="connsiteX0" y="connsiteY0"/>
              </a:cxn>
              <a:cxn ang="0">
                <a:pos x="connsiteX1" y="connsiteY1"/>
              </a:cxn>
              <a:cxn ang="0">
                <a:pos x="connsiteX2" y="connsiteY2"/>
              </a:cxn>
              <a:cxn ang="0">
                <a:pos x="connsiteX3" y="connsiteY3"/>
              </a:cxn>
            </a:cxnLst>
            <a:rect l="l" t="t" r="r" b="b"/>
            <a:pathLst>
              <a:path w="2338252" h="2508068">
                <a:moveTo>
                  <a:pt x="0" y="26125"/>
                </a:moveTo>
                <a:lnTo>
                  <a:pt x="2338252" y="2508068"/>
                </a:lnTo>
                <a:lnTo>
                  <a:pt x="2312126" y="0"/>
                </a:lnTo>
                <a:lnTo>
                  <a:pt x="0" y="26125"/>
                </a:lnTo>
                <a:close/>
              </a:path>
            </a:pathLst>
          </a:custGeom>
          <a:solidFill>
            <a:srgbClr val="00245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de-DE" err="1"/>
          </a:p>
        </p:txBody>
      </p:sp>
      <p:pic>
        <p:nvPicPr>
          <p:cNvPr id="7" name="Grafik 6">
            <a:extLst>
              <a:ext uri="{FF2B5EF4-FFF2-40B4-BE49-F238E27FC236}">
                <a16:creationId xmlns:a16="http://schemas.microsoft.com/office/drawing/2014/main" id="{21A4542A-9DD2-4998-908E-C0B53738645A}"/>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12928" y="459402"/>
            <a:ext cx="482238" cy="831442"/>
          </a:xfrm>
          <a:prstGeom prst="rect">
            <a:avLst/>
          </a:prstGeom>
        </p:spPr>
      </p:pic>
      <p:sp>
        <p:nvSpPr>
          <p:cNvPr id="20" name="Freihandform: Form 19">
            <a:extLst>
              <a:ext uri="{FF2B5EF4-FFF2-40B4-BE49-F238E27FC236}">
                <a16:creationId xmlns:a16="http://schemas.microsoft.com/office/drawing/2014/main" id="{53A581D1-236F-5246-83BA-BEA4607611F4}"/>
              </a:ext>
            </a:extLst>
          </p:cNvPr>
          <p:cNvSpPr/>
          <p:nvPr/>
        </p:nvSpPr>
        <p:spPr>
          <a:xfrm>
            <a:off x="3471583" y="-618861"/>
            <a:ext cx="9201277" cy="7561479"/>
          </a:xfrm>
          <a:custGeom>
            <a:avLst/>
            <a:gdLst>
              <a:gd name="connsiteX0" fmla="*/ 802945 w 9201277"/>
              <a:gd name="connsiteY0" fmla="*/ 0 h 7561479"/>
              <a:gd name="connsiteX1" fmla="*/ 9201277 w 9201277"/>
              <a:gd name="connsiteY1" fmla="*/ 0 h 7561479"/>
              <a:gd name="connsiteX2" fmla="*/ 9201277 w 9201277"/>
              <a:gd name="connsiteY2" fmla="*/ 7561479 h 7561479"/>
              <a:gd name="connsiteX3" fmla="*/ 0 w 9201277"/>
              <a:gd name="connsiteY3" fmla="*/ 7561479 h 7561479"/>
              <a:gd name="connsiteX4" fmla="*/ 2641237 w 9201277"/>
              <a:gd name="connsiteY4" fmla="*/ 338320 h 7561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1277" h="7561479">
                <a:moveTo>
                  <a:pt x="802945" y="0"/>
                </a:moveTo>
                <a:lnTo>
                  <a:pt x="9201277" y="0"/>
                </a:lnTo>
                <a:lnTo>
                  <a:pt x="9201277" y="7561479"/>
                </a:lnTo>
                <a:lnTo>
                  <a:pt x="0" y="7561479"/>
                </a:lnTo>
                <a:lnTo>
                  <a:pt x="2641237" y="338320"/>
                </a:lnTo>
                <a:close/>
              </a:path>
            </a:pathLst>
          </a:custGeom>
          <a:solidFill>
            <a:srgbClr val="E1E1E1">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90000"/>
              </a:lnSpc>
              <a:spcAft>
                <a:spcPts val="1000"/>
              </a:spcAft>
            </a:pPr>
            <a:endParaRPr lang="de-DE" err="1"/>
          </a:p>
        </p:txBody>
      </p:sp>
      <p:sp>
        <p:nvSpPr>
          <p:cNvPr id="8" name="Fußzeilenplatzhalter 2">
            <a:extLst>
              <a:ext uri="{FF2B5EF4-FFF2-40B4-BE49-F238E27FC236}">
                <a16:creationId xmlns:a16="http://schemas.microsoft.com/office/drawing/2014/main" id="{A356567D-4825-2EBB-0FDD-4BCBF645B0F4}"/>
              </a:ext>
            </a:extLst>
          </p:cNvPr>
          <p:cNvSpPr txBox="1">
            <a:spLocks/>
          </p:cNvSpPr>
          <p:nvPr/>
        </p:nvSpPr>
        <p:spPr>
          <a:xfrm>
            <a:off x="639159" y="6019485"/>
            <a:ext cx="4320000" cy="36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b="1">
                <a:solidFill>
                  <a:srgbClr val="0E2356"/>
                </a:solidFill>
                <a:latin typeface="Source Sans Pro Black" panose="020B0803030403020204" pitchFamily="34" charset="0"/>
                <a:ea typeface="Source Sans Pro Black" panose="020B0803030403020204" pitchFamily="34" charset="0"/>
                <a:cs typeface="+mj-cs"/>
              </a:rPr>
              <a:t>Fabian </a:t>
            </a:r>
            <a:r>
              <a:rPr lang="de-DE" sz="1400" b="1" err="1">
                <a:solidFill>
                  <a:srgbClr val="0E2356"/>
                </a:solidFill>
                <a:latin typeface="Source Sans Pro Black" panose="020B0803030403020204" pitchFamily="34" charset="0"/>
                <a:ea typeface="Source Sans Pro Black" panose="020B0803030403020204" pitchFamily="34" charset="0"/>
                <a:cs typeface="+mj-cs"/>
              </a:rPr>
              <a:t>Wylczoch</a:t>
            </a:r>
            <a:br>
              <a:rPr lang="de-DE" sz="1400" b="1">
                <a:solidFill>
                  <a:srgbClr val="0E2356"/>
                </a:solidFill>
                <a:latin typeface="Source Sans Pro Black" panose="020B0803030403020204" pitchFamily="34" charset="0"/>
                <a:ea typeface="Source Sans Pro Black" panose="020B0803030403020204" pitchFamily="34" charset="0"/>
                <a:cs typeface="+mj-cs"/>
              </a:rPr>
            </a:br>
            <a:r>
              <a:rPr lang="de-DE" sz="1400" b="1">
                <a:solidFill>
                  <a:srgbClr val="0E2356"/>
                </a:solidFill>
                <a:latin typeface="Source Sans Pro Black" panose="020B0803030403020204" pitchFamily="34" charset="0"/>
                <a:ea typeface="Source Sans Pro Black" panose="020B0803030403020204" pitchFamily="34" charset="0"/>
                <a:cs typeface="+mj-cs"/>
              </a:rPr>
              <a:t>Dominik Müller</a:t>
            </a:r>
          </a:p>
        </p:txBody>
      </p:sp>
    </p:spTree>
    <p:extLst>
      <p:ext uri="{BB962C8B-B14F-4D97-AF65-F5344CB8AC3E}">
        <p14:creationId xmlns:p14="http://schemas.microsoft.com/office/powerpoint/2010/main" val="942922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92C2D-42B3-9AEE-0172-01DF1E9F2BE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F403554-E3A4-8C73-1086-D27BF0BB41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4F403554-E3A4-8C73-1086-D27BF0BB41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2" name="Titel 4">
            <a:extLst>
              <a:ext uri="{FF2B5EF4-FFF2-40B4-BE49-F238E27FC236}">
                <a16:creationId xmlns:a16="http://schemas.microsoft.com/office/drawing/2014/main" id="{CF9ED6C0-171A-5DD3-6D1A-5DC8A8856D34}"/>
              </a:ext>
            </a:extLst>
          </p:cNvPr>
          <p:cNvSpPr txBox="1">
            <a:spLocks/>
          </p:cNvSpPr>
          <p:nvPr/>
        </p:nvSpPr>
        <p:spPr bwMode="gray">
          <a:xfrm>
            <a:off x="540000" y="432000"/>
            <a:ext cx="10232222" cy="539685"/>
          </a:xfrm>
          <a:prstGeom prst="rect">
            <a:avLst/>
          </a:prstGeom>
        </p:spPr>
        <p:txBody>
          <a:bodyPr vert="horz" lIns="0" tIns="0" rIns="0" bIns="0" rtlCol="0" anchor="t">
            <a:noAutofit/>
          </a:bodyPr>
          <a:lstStyle>
            <a:lvl1pPr marL="0" indent="0" algn="l" defTabSz="914400" rtl="0" eaLnBrk="1" latinLnBrk="0" hangingPunct="1">
              <a:lnSpc>
                <a:spcPct val="90000"/>
              </a:lnSpc>
              <a:spcBef>
                <a:spcPct val="0"/>
              </a:spcBef>
              <a:buClr>
                <a:srgbClr val="0E2356"/>
              </a:buClr>
              <a:buSzPct val="110000"/>
              <a:buFont typeface="Source Sans Pro SemiBold" panose="020B0603030403020204" pitchFamily="34" charset="0"/>
              <a:buNone/>
              <a:defRPr sz="3600" b="1" kern="1200">
                <a:solidFill>
                  <a:srgbClr val="0E2356"/>
                </a:solidFill>
                <a:latin typeface="Source Sans Pro" panose="020B0503030403020204" pitchFamily="34" charset="0"/>
                <a:ea typeface="Source Sans Pro" panose="020B0503030403020204" pitchFamily="34" charset="0"/>
                <a:cs typeface="+mj-cs"/>
              </a:defRPr>
            </a:lvl1pPr>
          </a:lstStyle>
          <a:p>
            <a:r>
              <a:rPr lang="de-DE"/>
              <a:t>Validierung extrahierter Patterns</a:t>
            </a:r>
          </a:p>
        </p:txBody>
      </p:sp>
      <p:sp>
        <p:nvSpPr>
          <p:cNvPr id="2" name="Datumsplatzhalter 1">
            <a:extLst>
              <a:ext uri="{FF2B5EF4-FFF2-40B4-BE49-F238E27FC236}">
                <a16:creationId xmlns:a16="http://schemas.microsoft.com/office/drawing/2014/main" id="{5318160A-343A-3879-958B-9ED762BCB6BF}"/>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0C87A00E-587D-3D5D-5397-821848ACBEEC}"/>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D71B049D-5514-E8F6-BCC9-C98D82EB929D}"/>
              </a:ext>
            </a:extLst>
          </p:cNvPr>
          <p:cNvSpPr>
            <a:spLocks noGrp="1"/>
          </p:cNvSpPr>
          <p:nvPr>
            <p:ph type="sldNum" sz="quarter" idx="12"/>
          </p:nvPr>
        </p:nvSpPr>
        <p:spPr/>
        <p:txBody>
          <a:bodyPr/>
          <a:lstStyle/>
          <a:p>
            <a:fld id="{02CEFE82-39F2-4F47-8A0C-D5AB3496FA5C}" type="slidenum">
              <a:rPr lang="de-DE" noProof="0" smtClean="0"/>
              <a:pPr/>
              <a:t>10</a:t>
            </a:fld>
            <a:endParaRPr lang="de-DE" noProof="0"/>
          </a:p>
        </p:txBody>
      </p:sp>
      <p:sp>
        <p:nvSpPr>
          <p:cNvPr id="48" name="Textfeld 47">
            <a:extLst>
              <a:ext uri="{FF2B5EF4-FFF2-40B4-BE49-F238E27FC236}">
                <a16:creationId xmlns:a16="http://schemas.microsoft.com/office/drawing/2014/main" id="{76A14E5D-0ADB-5FDA-B797-ADA93F5D2117}"/>
              </a:ext>
            </a:extLst>
          </p:cNvPr>
          <p:cNvSpPr txBox="1"/>
          <p:nvPr/>
        </p:nvSpPr>
        <p:spPr>
          <a:xfrm>
            <a:off x="8064894" y="373246"/>
            <a:ext cx="2226366" cy="387807"/>
          </a:xfrm>
          <a:prstGeom prst="rect">
            <a:avLst/>
          </a:prstGeom>
          <a:solidFill>
            <a:schemeClr val="bg1"/>
          </a:solidFill>
        </p:spPr>
        <p:txBody>
          <a:bodyPr wrap="square" lIns="0" tIns="0" rIns="0" bIns="0" rtlCol="0">
            <a:noAutofit/>
          </a:bodyPr>
          <a:lstStyle/>
          <a:p>
            <a:pPr algn="l">
              <a:lnSpc>
                <a:spcPct val="110000"/>
              </a:lnSpc>
              <a:spcAft>
                <a:spcPts val="1000"/>
              </a:spcAft>
            </a:pPr>
            <a:endParaRPr lang="de-DE">
              <a:solidFill>
                <a:schemeClr val="tx2">
                  <a:lumMod val="75000"/>
                </a:schemeClr>
              </a:solidFill>
            </a:endParaRPr>
          </a:p>
        </p:txBody>
      </p:sp>
      <p:sp>
        <p:nvSpPr>
          <p:cNvPr id="49" name="Textfeld 48">
            <a:extLst>
              <a:ext uri="{FF2B5EF4-FFF2-40B4-BE49-F238E27FC236}">
                <a16:creationId xmlns:a16="http://schemas.microsoft.com/office/drawing/2014/main" id="{32B19EDD-CD79-DF58-9766-D7C0927D6087}"/>
              </a:ext>
            </a:extLst>
          </p:cNvPr>
          <p:cNvSpPr txBox="1"/>
          <p:nvPr/>
        </p:nvSpPr>
        <p:spPr>
          <a:xfrm>
            <a:off x="7609784" y="1960585"/>
            <a:ext cx="4390257" cy="1903017"/>
          </a:xfrm>
          <a:prstGeom prst="rect">
            <a:avLst/>
          </a:prstGeom>
          <a:noFill/>
        </p:spPr>
        <p:txBody>
          <a:bodyPr wrap="square" lIns="0" tIns="0" rIns="0" bIns="0" rtlCol="0">
            <a:noAutofit/>
          </a:bodyPr>
          <a:lstStyle/>
          <a:p>
            <a:pPr>
              <a:lnSpc>
                <a:spcPct val="110000"/>
              </a:lnSpc>
              <a:spcAft>
                <a:spcPts val="1000"/>
              </a:spcAft>
            </a:pPr>
            <a:r>
              <a:rPr lang="de-DE" sz="1400">
                <a:solidFill>
                  <a:schemeClr val="tx2">
                    <a:lumMod val="75000"/>
                  </a:schemeClr>
                </a:solidFill>
                <a:sym typeface="Wingdings" panose="05000000000000000000" pitchFamily="2" charset="2"/>
              </a:rPr>
              <a:t>Neben Grad-Cam kommen theoretisch auch weitere Methoden zur Validierung in Frage:</a:t>
            </a:r>
          </a:p>
          <a:p>
            <a:pPr marL="742950" lvl="1" indent="-285750">
              <a:lnSpc>
                <a:spcPct val="110000"/>
              </a:lnSpc>
              <a:spcAft>
                <a:spcPts val="1000"/>
              </a:spcAft>
              <a:buFont typeface="Arial" panose="020B0604020202020204" pitchFamily="34" charset="0"/>
              <a:buChar char="•"/>
            </a:pPr>
            <a:r>
              <a:rPr lang="de-DE" sz="1400">
                <a:solidFill>
                  <a:schemeClr val="tx2">
                    <a:lumMod val="75000"/>
                  </a:schemeClr>
                </a:solidFill>
                <a:sym typeface="Wingdings" panose="05000000000000000000" pitchFamily="2" charset="2"/>
              </a:rPr>
              <a:t>Lime</a:t>
            </a:r>
          </a:p>
          <a:p>
            <a:pPr marL="742950" lvl="1" indent="-285750">
              <a:lnSpc>
                <a:spcPct val="110000"/>
              </a:lnSpc>
              <a:spcAft>
                <a:spcPts val="1000"/>
              </a:spcAft>
              <a:buFont typeface="Arial" panose="020B0604020202020204" pitchFamily="34" charset="0"/>
              <a:buChar char="•"/>
            </a:pPr>
            <a:r>
              <a:rPr lang="de-DE" sz="1400">
                <a:solidFill>
                  <a:schemeClr val="tx2">
                    <a:lumMod val="75000"/>
                  </a:schemeClr>
                </a:solidFill>
                <a:sym typeface="Wingdings" panose="05000000000000000000" pitchFamily="2" charset="2"/>
              </a:rPr>
              <a:t>SHAP</a:t>
            </a:r>
          </a:p>
        </p:txBody>
      </p:sp>
      <p:sp>
        <p:nvSpPr>
          <p:cNvPr id="50" name="Textfeld 49">
            <a:extLst>
              <a:ext uri="{FF2B5EF4-FFF2-40B4-BE49-F238E27FC236}">
                <a16:creationId xmlns:a16="http://schemas.microsoft.com/office/drawing/2014/main" id="{E5E64A4F-DE61-A8C2-A38B-C669912132FA}"/>
              </a:ext>
            </a:extLst>
          </p:cNvPr>
          <p:cNvSpPr txBox="1"/>
          <p:nvPr/>
        </p:nvSpPr>
        <p:spPr>
          <a:xfrm>
            <a:off x="7717536" y="1513234"/>
            <a:ext cx="4390257" cy="208277"/>
          </a:xfrm>
          <a:prstGeom prst="rect">
            <a:avLst/>
          </a:prstGeom>
          <a:noFill/>
        </p:spPr>
        <p:txBody>
          <a:bodyPr wrap="square" lIns="0" tIns="0" rIns="0" bIns="0" rtlCol="0">
            <a:noAutofit/>
          </a:bodyPr>
          <a:lstStyle/>
          <a:p>
            <a:pPr>
              <a:lnSpc>
                <a:spcPct val="110000"/>
              </a:lnSpc>
              <a:spcAft>
                <a:spcPts val="1000"/>
              </a:spcAft>
            </a:pPr>
            <a:r>
              <a:rPr lang="de-DE" b="1">
                <a:solidFill>
                  <a:srgbClr val="007749"/>
                </a:solidFill>
                <a:sym typeface="Wingdings" panose="05000000000000000000" pitchFamily="2" charset="2"/>
              </a:rPr>
              <a:t>Alternative Validierungsansätze</a:t>
            </a:r>
          </a:p>
        </p:txBody>
      </p:sp>
      <p:cxnSp>
        <p:nvCxnSpPr>
          <p:cNvPr id="56" name="Gerader Verbinder 55">
            <a:extLst>
              <a:ext uri="{FF2B5EF4-FFF2-40B4-BE49-F238E27FC236}">
                <a16:creationId xmlns:a16="http://schemas.microsoft.com/office/drawing/2014/main" id="{BBE62234-4081-E505-0D3C-E240905C83C8}"/>
              </a:ext>
            </a:extLst>
          </p:cNvPr>
          <p:cNvCxnSpPr>
            <a:cxnSpLocks/>
          </p:cNvCxnSpPr>
          <p:nvPr/>
        </p:nvCxnSpPr>
        <p:spPr>
          <a:xfrm>
            <a:off x="559703" y="1807574"/>
            <a:ext cx="6658852"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4B2314C7-29A2-DF8C-742C-E1C44C4C06FF}"/>
              </a:ext>
            </a:extLst>
          </p:cNvPr>
          <p:cNvCxnSpPr>
            <a:cxnSpLocks/>
          </p:cNvCxnSpPr>
          <p:nvPr/>
        </p:nvCxnSpPr>
        <p:spPr>
          <a:xfrm>
            <a:off x="7717536" y="1807574"/>
            <a:ext cx="3594657"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58" name="Textfeld 57">
            <a:extLst>
              <a:ext uri="{FF2B5EF4-FFF2-40B4-BE49-F238E27FC236}">
                <a16:creationId xmlns:a16="http://schemas.microsoft.com/office/drawing/2014/main" id="{ADAF155C-159E-7E4C-650C-EF4E5C795AE8}"/>
              </a:ext>
            </a:extLst>
          </p:cNvPr>
          <p:cNvSpPr txBox="1"/>
          <p:nvPr/>
        </p:nvSpPr>
        <p:spPr>
          <a:xfrm>
            <a:off x="581018" y="1511678"/>
            <a:ext cx="4390257" cy="379920"/>
          </a:xfrm>
          <a:prstGeom prst="rect">
            <a:avLst/>
          </a:prstGeom>
          <a:noFill/>
        </p:spPr>
        <p:txBody>
          <a:bodyPr wrap="square" lIns="0" tIns="0" rIns="0" bIns="0" rtlCol="0">
            <a:noAutofit/>
          </a:bodyPr>
          <a:lstStyle/>
          <a:p>
            <a:pPr>
              <a:lnSpc>
                <a:spcPct val="110000"/>
              </a:lnSpc>
              <a:spcAft>
                <a:spcPts val="1000"/>
              </a:spcAft>
            </a:pPr>
            <a:r>
              <a:rPr lang="de-DE" b="1">
                <a:solidFill>
                  <a:srgbClr val="007749"/>
                </a:solidFill>
                <a:sym typeface="Wingdings" panose="05000000000000000000" pitchFamily="2" charset="2"/>
              </a:rPr>
              <a:t>Idee:</a:t>
            </a:r>
          </a:p>
        </p:txBody>
      </p:sp>
      <p:sp>
        <p:nvSpPr>
          <p:cNvPr id="5" name="Textplatzhalter 5">
            <a:extLst>
              <a:ext uri="{FF2B5EF4-FFF2-40B4-BE49-F238E27FC236}">
                <a16:creationId xmlns:a16="http://schemas.microsoft.com/office/drawing/2014/main" id="{BFA43830-6913-CE4F-8FE3-B47CB38CA311}"/>
              </a:ext>
            </a:extLst>
          </p:cNvPr>
          <p:cNvSpPr>
            <a:spLocks noGrp="1"/>
          </p:cNvSpPr>
          <p:nvPr>
            <p:ph type="body" sz="quarter" idx="28"/>
          </p:nvPr>
        </p:nvSpPr>
        <p:spPr>
          <a:xfrm>
            <a:off x="539751" y="971685"/>
            <a:ext cx="10232472" cy="528638"/>
          </a:xfrm>
        </p:spPr>
        <p:txBody>
          <a:bodyPr/>
          <a:lstStyle/>
          <a:p>
            <a:r>
              <a:rPr lang="de-DE"/>
              <a:t>Grad-Cam</a:t>
            </a:r>
          </a:p>
        </p:txBody>
      </p:sp>
      <p:sp>
        <p:nvSpPr>
          <p:cNvPr id="6" name="Textfeld 5">
            <a:extLst>
              <a:ext uri="{FF2B5EF4-FFF2-40B4-BE49-F238E27FC236}">
                <a16:creationId xmlns:a16="http://schemas.microsoft.com/office/drawing/2014/main" id="{553F609F-B495-D314-941A-C56ECE87616B}"/>
              </a:ext>
            </a:extLst>
          </p:cNvPr>
          <p:cNvSpPr txBox="1"/>
          <p:nvPr/>
        </p:nvSpPr>
        <p:spPr>
          <a:xfrm>
            <a:off x="137414" y="1898343"/>
            <a:ext cx="7081141" cy="1983767"/>
          </a:xfrm>
          <a:prstGeom prst="rect">
            <a:avLst/>
          </a:prstGeom>
          <a:solidFill>
            <a:schemeClr val="bg1"/>
          </a:solidFill>
        </p:spPr>
        <p:txBody>
          <a:bodyPr wrap="square" lIns="0" tIns="0" rIns="0" bIns="0" rtlCol="0">
            <a:noAutofit/>
          </a:bodyPr>
          <a:lstStyle/>
          <a:p>
            <a:pPr marL="628650" lvl="1" indent="-171450">
              <a:lnSpc>
                <a:spcPct val="110000"/>
              </a:lnSpc>
              <a:spcAft>
                <a:spcPts val="1000"/>
              </a:spcAft>
              <a:buFont typeface="Arial" panose="020B0604020202020204" pitchFamily="34" charset="0"/>
              <a:buChar char="•"/>
            </a:pPr>
            <a:r>
              <a:rPr lang="de-DE" sz="1400">
                <a:solidFill>
                  <a:schemeClr val="tx2">
                    <a:lumMod val="75000"/>
                  </a:schemeClr>
                </a:solidFill>
                <a:sym typeface="Wingdings" panose="05000000000000000000" pitchFamily="2" charset="2"/>
              </a:rPr>
              <a:t>Ziel davon: </a:t>
            </a:r>
            <a:r>
              <a:rPr lang="de-DE" sz="1400"/>
              <a:t>Methode zur Visualisierung der Aktivierungen in </a:t>
            </a:r>
            <a:r>
              <a:rPr lang="de-DE" sz="1400" err="1"/>
              <a:t>Convolutional</a:t>
            </a:r>
            <a:r>
              <a:rPr lang="de-DE" sz="1400"/>
              <a:t> </a:t>
            </a:r>
            <a:r>
              <a:rPr lang="de-DE" sz="1400" err="1"/>
              <a:t>Neural</a:t>
            </a:r>
            <a:r>
              <a:rPr lang="de-DE" sz="1400"/>
              <a:t> Networks </a:t>
            </a:r>
          </a:p>
          <a:p>
            <a:pPr marL="628650" lvl="1" indent="-171450">
              <a:lnSpc>
                <a:spcPct val="110000"/>
              </a:lnSpc>
              <a:spcAft>
                <a:spcPts val="1000"/>
              </a:spcAft>
              <a:buFont typeface="Arial" panose="020B0604020202020204" pitchFamily="34" charset="0"/>
              <a:buChar char="•"/>
            </a:pPr>
            <a:r>
              <a:rPr lang="de-DE" sz="1400"/>
              <a:t>hilft zu erklären, welche Bildbereiche für eine bestimmte Vorhersage wichtig sind.</a:t>
            </a:r>
          </a:p>
          <a:p>
            <a:pPr marL="628650" lvl="1" indent="-171450">
              <a:lnSpc>
                <a:spcPct val="110000"/>
              </a:lnSpc>
              <a:spcAft>
                <a:spcPts val="1000"/>
              </a:spcAft>
              <a:buFont typeface="Arial" panose="020B0604020202020204" pitchFamily="34" charset="0"/>
              <a:buChar char="•"/>
            </a:pPr>
            <a:r>
              <a:rPr lang="de-DE" sz="1400">
                <a:solidFill>
                  <a:schemeClr val="tx2">
                    <a:lumMod val="75000"/>
                  </a:schemeClr>
                </a:solidFill>
                <a:sym typeface="Wingdings" panose="05000000000000000000" pitchFamily="2" charset="2"/>
              </a:rPr>
              <a:t>Ergebnis: Visualisierung von relevanten Bereichen und Stellen entlang der Zeitreihe</a:t>
            </a:r>
          </a:p>
          <a:p>
            <a:pPr marL="742950" lvl="1"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742950" lvl="1"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742950" lvl="1"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p:txBody>
      </p:sp>
      <p:sp>
        <p:nvSpPr>
          <p:cNvPr id="9" name="Rechteck 8">
            <a:extLst>
              <a:ext uri="{FF2B5EF4-FFF2-40B4-BE49-F238E27FC236}">
                <a16:creationId xmlns:a16="http://schemas.microsoft.com/office/drawing/2014/main" id="{D135C653-8BB0-19D7-2A8F-551331F1CFE8}"/>
              </a:ext>
            </a:extLst>
          </p:cNvPr>
          <p:cNvSpPr/>
          <p:nvPr/>
        </p:nvSpPr>
        <p:spPr>
          <a:xfrm>
            <a:off x="1336826" y="5149846"/>
            <a:ext cx="10322605"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r>
              <a:rPr lang="de-DE" sz="1800">
                <a:solidFill>
                  <a:schemeClr val="tx1"/>
                </a:solidFill>
              </a:rPr>
              <a:t>Abstrakte Features und </a:t>
            </a:r>
            <a:r>
              <a:rPr lang="de-DE" sz="1800" b="1">
                <a:solidFill>
                  <a:schemeClr val="tx1"/>
                </a:solidFill>
              </a:rPr>
              <a:t>wichtige Bereiche </a:t>
            </a:r>
            <a:r>
              <a:rPr lang="de-DE" sz="1800">
                <a:solidFill>
                  <a:schemeClr val="tx1"/>
                </a:solidFill>
              </a:rPr>
              <a:t>können </a:t>
            </a:r>
            <a:r>
              <a:rPr lang="de-DE" sz="1800" b="1">
                <a:solidFill>
                  <a:schemeClr val="tx1"/>
                </a:solidFill>
              </a:rPr>
              <a:t>visualisiert und bestimmt </a:t>
            </a:r>
            <a:r>
              <a:rPr lang="de-DE" sz="1800">
                <a:solidFill>
                  <a:schemeClr val="tx1"/>
                </a:solidFill>
              </a:rPr>
              <a:t>werden und dadurch </a:t>
            </a:r>
            <a:r>
              <a:rPr lang="de-DE" sz="1800" b="1">
                <a:solidFill>
                  <a:schemeClr val="tx1"/>
                </a:solidFill>
              </a:rPr>
              <a:t>mit</a:t>
            </a:r>
            <a:r>
              <a:rPr lang="de-DE" sz="1800">
                <a:solidFill>
                  <a:schemeClr val="tx1"/>
                </a:solidFill>
              </a:rPr>
              <a:t> den durch Pattern </a:t>
            </a:r>
            <a:r>
              <a:rPr lang="de-DE" sz="1800" err="1">
                <a:solidFill>
                  <a:schemeClr val="tx1"/>
                </a:solidFill>
              </a:rPr>
              <a:t>Extraction</a:t>
            </a:r>
            <a:r>
              <a:rPr lang="de-DE" sz="1800">
                <a:solidFill>
                  <a:schemeClr val="tx1"/>
                </a:solidFill>
              </a:rPr>
              <a:t> identifizierte </a:t>
            </a:r>
            <a:r>
              <a:rPr lang="de-DE" sz="1800" b="1">
                <a:solidFill>
                  <a:schemeClr val="tx1"/>
                </a:solidFill>
              </a:rPr>
              <a:t>relevante Bereiche verglichen </a:t>
            </a:r>
            <a:r>
              <a:rPr lang="de-DE" sz="1800">
                <a:solidFill>
                  <a:schemeClr val="tx1"/>
                </a:solidFill>
              </a:rPr>
              <a:t>werden</a:t>
            </a:r>
          </a:p>
        </p:txBody>
      </p:sp>
      <p:sp>
        <p:nvSpPr>
          <p:cNvPr id="10" name="Rechteck 9">
            <a:extLst>
              <a:ext uri="{FF2B5EF4-FFF2-40B4-BE49-F238E27FC236}">
                <a16:creationId xmlns:a16="http://schemas.microsoft.com/office/drawing/2014/main" id="{9DB21F91-7BDA-ACC8-14BF-D23AC266E845}"/>
              </a:ext>
            </a:extLst>
          </p:cNvPr>
          <p:cNvSpPr/>
          <p:nvPr/>
        </p:nvSpPr>
        <p:spPr>
          <a:xfrm>
            <a:off x="552757" y="5149845"/>
            <a:ext cx="784069"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endParaRPr lang="de-DE" sz="1800">
              <a:solidFill>
                <a:schemeClr val="tx1"/>
              </a:solidFill>
            </a:endParaRPr>
          </a:p>
        </p:txBody>
      </p:sp>
      <p:pic>
        <p:nvPicPr>
          <p:cNvPr id="11" name="Grafik 10" descr="Lichter an mit einfarbiger Füllung">
            <a:extLst>
              <a:ext uri="{FF2B5EF4-FFF2-40B4-BE49-F238E27FC236}">
                <a16:creationId xmlns:a16="http://schemas.microsoft.com/office/drawing/2014/main" id="{BFB33DF2-FC28-0726-C2E1-1444AF061A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3466" y="5270773"/>
            <a:ext cx="542652" cy="542652"/>
          </a:xfrm>
          <a:prstGeom prst="rect">
            <a:avLst/>
          </a:prstGeom>
        </p:spPr>
      </p:pic>
      <p:grpSp>
        <p:nvGrpSpPr>
          <p:cNvPr id="12" name="Gruppieren 11">
            <a:extLst>
              <a:ext uri="{FF2B5EF4-FFF2-40B4-BE49-F238E27FC236}">
                <a16:creationId xmlns:a16="http://schemas.microsoft.com/office/drawing/2014/main" id="{9BAEEE0E-E5AF-34D8-6443-49F8E0173ACA}"/>
              </a:ext>
            </a:extLst>
          </p:cNvPr>
          <p:cNvGrpSpPr/>
          <p:nvPr/>
        </p:nvGrpSpPr>
        <p:grpSpPr>
          <a:xfrm>
            <a:off x="1567160" y="3599878"/>
            <a:ext cx="4721072" cy="1267732"/>
            <a:chOff x="1110332" y="1618119"/>
            <a:chExt cx="10177422" cy="3451590"/>
          </a:xfrm>
        </p:grpSpPr>
        <p:grpSp>
          <p:nvGrpSpPr>
            <p:cNvPr id="13" name="Gruppieren 12">
              <a:extLst>
                <a:ext uri="{FF2B5EF4-FFF2-40B4-BE49-F238E27FC236}">
                  <a16:creationId xmlns:a16="http://schemas.microsoft.com/office/drawing/2014/main" id="{A86DF3B9-011E-C905-B7CE-E5E5BBF55EB2}"/>
                </a:ext>
              </a:extLst>
            </p:cNvPr>
            <p:cNvGrpSpPr/>
            <p:nvPr/>
          </p:nvGrpSpPr>
          <p:grpSpPr>
            <a:xfrm>
              <a:off x="1110332" y="1618119"/>
              <a:ext cx="3786351" cy="3381036"/>
              <a:chOff x="1258614" y="1473842"/>
              <a:chExt cx="3786351" cy="3381036"/>
            </a:xfrm>
          </p:grpSpPr>
          <p:pic>
            <p:nvPicPr>
              <p:cNvPr id="19" name="Picture 2" descr="Selektive Fokusfotografie einer orangefarbenen und weißen Katze auf braunem Tisch">
                <a:extLst>
                  <a:ext uri="{FF2B5EF4-FFF2-40B4-BE49-F238E27FC236}">
                    <a16:creationId xmlns:a16="http://schemas.microsoft.com/office/drawing/2014/main" id="{6CE3BCD0-0C94-BD95-6F62-95B1976C3B0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8975" b="19116"/>
              <a:stretch/>
            </p:blipFill>
            <p:spPr bwMode="auto">
              <a:xfrm>
                <a:off x="1258614" y="1573461"/>
                <a:ext cx="3786351" cy="328141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 name="Oval 1">
                <a:extLst>
                  <a:ext uri="{FF2B5EF4-FFF2-40B4-BE49-F238E27FC236}">
                    <a16:creationId xmlns:a16="http://schemas.microsoft.com/office/drawing/2014/main" id="{FC35AE76-9EB6-2370-233F-57CB9ABF5A9E}"/>
                  </a:ext>
                </a:extLst>
              </p:cNvPr>
              <p:cNvSpPr/>
              <p:nvPr/>
            </p:nvSpPr>
            <p:spPr>
              <a:xfrm rot="19644067">
                <a:off x="2337659" y="1473842"/>
                <a:ext cx="687329" cy="1081521"/>
              </a:xfrm>
              <a:prstGeom prst="ellipse">
                <a:avLst/>
              </a:prstGeom>
              <a:gradFill flip="none" rotWithShape="1">
                <a:gsLst>
                  <a:gs pos="32000">
                    <a:srgbClr val="FFFF00">
                      <a:alpha val="49000"/>
                    </a:srgbClr>
                  </a:gs>
                  <a:gs pos="59000">
                    <a:schemeClr val="accent3">
                      <a:lumMod val="60000"/>
                      <a:lumOff val="40000"/>
                      <a:alpha val="48000"/>
                    </a:schemeClr>
                  </a:gs>
                  <a:gs pos="0">
                    <a:srgbClr val="FF0000">
                      <a:alpha val="55000"/>
                    </a:srgbClr>
                  </a:gs>
                  <a:gs pos="100000">
                    <a:schemeClr val="accent1">
                      <a:lumMod val="60000"/>
                      <a:lumOff val="40000"/>
                      <a:alpha val="50004"/>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Oval 6">
                <a:extLst>
                  <a:ext uri="{FF2B5EF4-FFF2-40B4-BE49-F238E27FC236}">
                    <a16:creationId xmlns:a16="http://schemas.microsoft.com/office/drawing/2014/main" id="{6F714685-4BEA-CC79-B755-2E3ED0F3122C}"/>
                  </a:ext>
                </a:extLst>
              </p:cNvPr>
              <p:cNvSpPr/>
              <p:nvPr/>
            </p:nvSpPr>
            <p:spPr>
              <a:xfrm rot="18001127">
                <a:off x="1555103" y="2018352"/>
                <a:ext cx="687328" cy="1081520"/>
              </a:xfrm>
              <a:prstGeom prst="ellipse">
                <a:avLst/>
              </a:prstGeom>
              <a:gradFill flip="none" rotWithShape="1">
                <a:gsLst>
                  <a:gs pos="32000">
                    <a:srgbClr val="FFFF00">
                      <a:alpha val="49000"/>
                    </a:srgbClr>
                  </a:gs>
                  <a:gs pos="59000">
                    <a:schemeClr val="accent3">
                      <a:lumMod val="60000"/>
                      <a:lumOff val="40000"/>
                      <a:alpha val="48000"/>
                    </a:schemeClr>
                  </a:gs>
                  <a:gs pos="0">
                    <a:srgbClr val="FF0000">
                      <a:alpha val="55000"/>
                    </a:srgbClr>
                  </a:gs>
                  <a:gs pos="100000">
                    <a:schemeClr val="accent1">
                      <a:lumMod val="60000"/>
                      <a:lumOff val="40000"/>
                      <a:alpha val="50004"/>
                    </a:scheme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a:extLst>
                <a:ext uri="{FF2B5EF4-FFF2-40B4-BE49-F238E27FC236}">
                  <a16:creationId xmlns:a16="http://schemas.microsoft.com/office/drawing/2014/main" id="{E238E94C-6C6A-6277-CE33-547D741BEC11}"/>
                </a:ext>
              </a:extLst>
            </p:cNvPr>
            <p:cNvGrpSpPr/>
            <p:nvPr/>
          </p:nvGrpSpPr>
          <p:grpSpPr>
            <a:xfrm>
              <a:off x="6510092" y="1788290"/>
              <a:ext cx="4777662" cy="3281419"/>
              <a:chOff x="6510093" y="1788290"/>
              <a:chExt cx="4777662" cy="3281419"/>
            </a:xfrm>
          </p:grpSpPr>
          <p:pic>
            <p:nvPicPr>
              <p:cNvPr id="16" name="Grafik 15">
                <a:extLst>
                  <a:ext uri="{FF2B5EF4-FFF2-40B4-BE49-F238E27FC236}">
                    <a16:creationId xmlns:a16="http://schemas.microsoft.com/office/drawing/2014/main" id="{900A6692-385A-3D8D-80B4-81525A87A575}"/>
                  </a:ext>
                </a:extLst>
              </p:cNvPr>
              <p:cNvPicPr>
                <a:picLocks noChangeAspect="1"/>
              </p:cNvPicPr>
              <p:nvPr/>
            </p:nvPicPr>
            <p:blipFill>
              <a:blip r:embed="rId8"/>
              <a:stretch>
                <a:fillRect/>
              </a:stretch>
            </p:blipFill>
            <p:spPr>
              <a:xfrm>
                <a:off x="6510093" y="1788290"/>
                <a:ext cx="4777662" cy="3281419"/>
              </a:xfrm>
              <a:prstGeom prst="rect">
                <a:avLst/>
              </a:prstGeom>
              <a:ln>
                <a:solidFill>
                  <a:schemeClr val="tx1"/>
                </a:solidFill>
              </a:ln>
              <a:effectLst>
                <a:outerShdw blurRad="50800" dist="38100" dir="2700000" algn="tl" rotWithShape="0">
                  <a:prstClr val="black">
                    <a:alpha val="40000"/>
                  </a:prstClr>
                </a:outerShdw>
              </a:effectLst>
            </p:spPr>
          </p:pic>
          <p:sp>
            <p:nvSpPr>
              <p:cNvPr id="18" name="Oval 8">
                <a:extLst>
                  <a:ext uri="{FF2B5EF4-FFF2-40B4-BE49-F238E27FC236}">
                    <a16:creationId xmlns:a16="http://schemas.microsoft.com/office/drawing/2014/main" id="{F2B50F62-1E31-D908-CBC9-B9A87CD58724}"/>
                  </a:ext>
                </a:extLst>
              </p:cNvPr>
              <p:cNvSpPr/>
              <p:nvPr/>
            </p:nvSpPr>
            <p:spPr>
              <a:xfrm>
                <a:off x="7957078" y="1989438"/>
                <a:ext cx="878003" cy="2767913"/>
              </a:xfrm>
              <a:prstGeom prst="ellipse">
                <a:avLst/>
              </a:prstGeom>
              <a:gradFill flip="none" rotWithShape="1">
                <a:gsLst>
                  <a:gs pos="32000">
                    <a:srgbClr val="FFFF00">
                      <a:alpha val="49000"/>
                    </a:srgbClr>
                  </a:gs>
                  <a:gs pos="59000">
                    <a:schemeClr val="accent3">
                      <a:lumMod val="60000"/>
                      <a:lumOff val="40000"/>
                      <a:alpha val="48000"/>
                    </a:schemeClr>
                  </a:gs>
                  <a:gs pos="0">
                    <a:srgbClr val="FF0000">
                      <a:alpha val="55000"/>
                    </a:srgbClr>
                  </a:gs>
                  <a:gs pos="100000">
                    <a:schemeClr val="accent1">
                      <a:lumMod val="60000"/>
                      <a:lumOff val="40000"/>
                      <a:alpha val="50004"/>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Pfeil nach rechts 9">
              <a:extLst>
                <a:ext uri="{FF2B5EF4-FFF2-40B4-BE49-F238E27FC236}">
                  <a16:creationId xmlns:a16="http://schemas.microsoft.com/office/drawing/2014/main" id="{DB90C312-6FD0-6651-6B05-705DF82F8966}"/>
                </a:ext>
              </a:extLst>
            </p:cNvPr>
            <p:cNvSpPr/>
            <p:nvPr/>
          </p:nvSpPr>
          <p:spPr>
            <a:xfrm>
              <a:off x="5209117" y="2647485"/>
              <a:ext cx="988541" cy="1851583"/>
            </a:xfrm>
            <a:prstGeom prst="rightArrow">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1091771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E1B091-BA60-5D7E-747D-643C2A567F4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39E333-D710-7FC6-00FB-87FC6AAA6C02}"/>
              </a:ext>
            </a:extLst>
          </p:cNvPr>
          <p:cNvGraphicFramePr>
            <a:graphicFrameLocks noChangeAspect="1"/>
          </p:cNvGraphicFramePr>
          <p:nvPr>
            <p:custDataLst>
              <p:tags r:id="rId1"/>
            </p:custDataLst>
            <p:extLst>
              <p:ext uri="{D42A27DB-BD31-4B8C-83A1-F6EECF244321}">
                <p14:modId xmlns:p14="http://schemas.microsoft.com/office/powerpoint/2010/main" val="1683167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B939E333-D710-7FC6-00FB-87FC6AAA6C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30CFA0CD-CB7D-DADF-5577-33846313E703}"/>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FA0E771B-75DD-4CD4-792B-900C1009850D}"/>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05588426-C3D1-1CB6-1F03-8B70E0988D5B}"/>
              </a:ext>
            </a:extLst>
          </p:cNvPr>
          <p:cNvSpPr>
            <a:spLocks noGrp="1"/>
          </p:cNvSpPr>
          <p:nvPr>
            <p:ph type="sldNum" sz="quarter" idx="12"/>
          </p:nvPr>
        </p:nvSpPr>
        <p:spPr/>
        <p:txBody>
          <a:bodyPr/>
          <a:lstStyle/>
          <a:p>
            <a:fld id="{02CEFE82-39F2-4F47-8A0C-D5AB3496FA5C}" type="slidenum">
              <a:rPr lang="de-DE" noProof="0" smtClean="0"/>
              <a:pPr/>
              <a:t>11</a:t>
            </a:fld>
            <a:endParaRPr lang="de-DE" noProof="0"/>
          </a:p>
        </p:txBody>
      </p:sp>
      <p:sp>
        <p:nvSpPr>
          <p:cNvPr id="5" name="Titel 4">
            <a:extLst>
              <a:ext uri="{FF2B5EF4-FFF2-40B4-BE49-F238E27FC236}">
                <a16:creationId xmlns:a16="http://schemas.microsoft.com/office/drawing/2014/main" id="{4D8260F3-8E5C-682D-8A22-C9DD6491B48F}"/>
              </a:ext>
            </a:extLst>
          </p:cNvPr>
          <p:cNvSpPr>
            <a:spLocks noGrp="1"/>
          </p:cNvSpPr>
          <p:nvPr>
            <p:ph type="title"/>
          </p:nvPr>
        </p:nvSpPr>
        <p:spPr/>
        <p:txBody>
          <a:bodyPr vert="horz"/>
          <a:lstStyle/>
          <a:p>
            <a:r>
              <a:rPr lang="de-DE"/>
              <a:t>Validierung extrahierter Patterns</a:t>
            </a:r>
          </a:p>
        </p:txBody>
      </p:sp>
      <p:sp>
        <p:nvSpPr>
          <p:cNvPr id="9" name="Rechteck 8">
            <a:extLst>
              <a:ext uri="{FF2B5EF4-FFF2-40B4-BE49-F238E27FC236}">
                <a16:creationId xmlns:a16="http://schemas.microsoft.com/office/drawing/2014/main" id="{4F88CC32-DB64-8028-E836-C5A71F190956}"/>
              </a:ext>
            </a:extLst>
          </p:cNvPr>
          <p:cNvSpPr/>
          <p:nvPr/>
        </p:nvSpPr>
        <p:spPr>
          <a:xfrm>
            <a:off x="542926" y="1527951"/>
            <a:ext cx="3582894" cy="5912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Input: </a:t>
            </a:r>
            <a:r>
              <a:rPr lang="de-DE"/>
              <a:t>Time Series</a:t>
            </a:r>
          </a:p>
        </p:txBody>
      </p:sp>
      <p:sp>
        <p:nvSpPr>
          <p:cNvPr id="18" name="Rechteck 17">
            <a:extLst>
              <a:ext uri="{FF2B5EF4-FFF2-40B4-BE49-F238E27FC236}">
                <a16:creationId xmlns:a16="http://schemas.microsoft.com/office/drawing/2014/main" id="{6397FF78-EE80-E8B1-4E6E-EC3A39E6956A}"/>
              </a:ext>
            </a:extLst>
          </p:cNvPr>
          <p:cNvSpPr/>
          <p:nvPr/>
        </p:nvSpPr>
        <p:spPr>
          <a:xfrm>
            <a:off x="1336826" y="5149846"/>
            <a:ext cx="10322605"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r>
              <a:rPr lang="de-DE" sz="1800">
                <a:solidFill>
                  <a:schemeClr val="tx1"/>
                </a:solidFill>
              </a:rPr>
              <a:t>Abstrakte Features und </a:t>
            </a:r>
            <a:r>
              <a:rPr lang="de-DE" sz="1800" b="1">
                <a:solidFill>
                  <a:schemeClr val="tx1"/>
                </a:solidFill>
              </a:rPr>
              <a:t>wichtige Bereiche </a:t>
            </a:r>
            <a:r>
              <a:rPr lang="de-DE" sz="1800">
                <a:solidFill>
                  <a:schemeClr val="tx1"/>
                </a:solidFill>
              </a:rPr>
              <a:t>können </a:t>
            </a:r>
            <a:r>
              <a:rPr lang="de-DE" sz="1800" b="1">
                <a:solidFill>
                  <a:schemeClr val="tx1"/>
                </a:solidFill>
              </a:rPr>
              <a:t>visualisiert und bestimmt </a:t>
            </a:r>
            <a:r>
              <a:rPr lang="de-DE" sz="1800">
                <a:solidFill>
                  <a:schemeClr val="tx1"/>
                </a:solidFill>
              </a:rPr>
              <a:t>werden und dadurch </a:t>
            </a:r>
            <a:r>
              <a:rPr lang="de-DE" sz="1800" b="1">
                <a:solidFill>
                  <a:schemeClr val="tx1"/>
                </a:solidFill>
              </a:rPr>
              <a:t>mit</a:t>
            </a:r>
            <a:r>
              <a:rPr lang="de-DE" sz="1800">
                <a:solidFill>
                  <a:schemeClr val="tx1"/>
                </a:solidFill>
              </a:rPr>
              <a:t> den durch Pattern </a:t>
            </a:r>
            <a:r>
              <a:rPr lang="de-DE" sz="1800" err="1">
                <a:solidFill>
                  <a:schemeClr val="tx1"/>
                </a:solidFill>
              </a:rPr>
              <a:t>Extraction</a:t>
            </a:r>
            <a:r>
              <a:rPr lang="de-DE" sz="1800">
                <a:solidFill>
                  <a:schemeClr val="tx1"/>
                </a:solidFill>
              </a:rPr>
              <a:t> identifizierte </a:t>
            </a:r>
            <a:r>
              <a:rPr lang="de-DE" b="1">
                <a:solidFill>
                  <a:schemeClr val="tx1"/>
                </a:solidFill>
              </a:rPr>
              <a:t>relevante</a:t>
            </a:r>
            <a:r>
              <a:rPr lang="de-DE" sz="1800" b="1">
                <a:solidFill>
                  <a:schemeClr val="tx1"/>
                </a:solidFill>
              </a:rPr>
              <a:t> Bereiche verglichen </a:t>
            </a:r>
            <a:r>
              <a:rPr lang="de-DE" sz="1800">
                <a:solidFill>
                  <a:schemeClr val="tx1"/>
                </a:solidFill>
              </a:rPr>
              <a:t>werden</a:t>
            </a:r>
          </a:p>
        </p:txBody>
      </p:sp>
      <p:sp>
        <p:nvSpPr>
          <p:cNvPr id="21" name="Rechteck 20">
            <a:extLst>
              <a:ext uri="{FF2B5EF4-FFF2-40B4-BE49-F238E27FC236}">
                <a16:creationId xmlns:a16="http://schemas.microsoft.com/office/drawing/2014/main" id="{44618DE6-3BA7-83F1-DD6B-14C9DDC3862B}"/>
              </a:ext>
            </a:extLst>
          </p:cNvPr>
          <p:cNvSpPr/>
          <p:nvPr/>
        </p:nvSpPr>
        <p:spPr>
          <a:xfrm>
            <a:off x="552757" y="5149845"/>
            <a:ext cx="784069"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endParaRPr lang="de-DE" sz="1800">
              <a:solidFill>
                <a:schemeClr val="tx1"/>
              </a:solidFill>
            </a:endParaRPr>
          </a:p>
        </p:txBody>
      </p:sp>
      <p:sp>
        <p:nvSpPr>
          <p:cNvPr id="24" name="Rechteck 23">
            <a:extLst>
              <a:ext uri="{FF2B5EF4-FFF2-40B4-BE49-F238E27FC236}">
                <a16:creationId xmlns:a16="http://schemas.microsoft.com/office/drawing/2014/main" id="{860CB71C-E73C-6CD8-201F-492D13A3219E}"/>
              </a:ext>
            </a:extLst>
          </p:cNvPr>
          <p:cNvSpPr/>
          <p:nvPr/>
        </p:nvSpPr>
        <p:spPr>
          <a:xfrm>
            <a:off x="4304816" y="1527951"/>
            <a:ext cx="3582894" cy="5912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CNN</a:t>
            </a:r>
            <a:r>
              <a:rPr lang="de-DE"/>
              <a:t> (</a:t>
            </a:r>
            <a:r>
              <a:rPr lang="de-DE" err="1"/>
              <a:t>Machine</a:t>
            </a:r>
            <a:r>
              <a:rPr lang="de-DE"/>
              <a:t> Learning Model)</a:t>
            </a:r>
          </a:p>
        </p:txBody>
      </p:sp>
      <p:sp>
        <p:nvSpPr>
          <p:cNvPr id="25" name="Rechteck 24">
            <a:extLst>
              <a:ext uri="{FF2B5EF4-FFF2-40B4-BE49-F238E27FC236}">
                <a16:creationId xmlns:a16="http://schemas.microsoft.com/office/drawing/2014/main" id="{8AEE14AC-9424-E25D-5066-91B28D85A941}"/>
              </a:ext>
            </a:extLst>
          </p:cNvPr>
          <p:cNvSpPr/>
          <p:nvPr/>
        </p:nvSpPr>
        <p:spPr>
          <a:xfrm>
            <a:off x="8066706" y="1527950"/>
            <a:ext cx="3582894" cy="5912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Output: </a:t>
            </a:r>
            <a:r>
              <a:rPr lang="de-DE" err="1"/>
              <a:t>Visualisation</a:t>
            </a:r>
            <a:r>
              <a:rPr lang="de-DE"/>
              <a:t> </a:t>
            </a:r>
            <a:r>
              <a:rPr lang="de-DE" err="1"/>
              <a:t>of</a:t>
            </a:r>
            <a:r>
              <a:rPr lang="de-DE"/>
              <a:t> </a:t>
            </a:r>
            <a:r>
              <a:rPr lang="de-DE" err="1"/>
              <a:t>Significance</a:t>
            </a:r>
            <a:r>
              <a:rPr lang="de-DE"/>
              <a:t> </a:t>
            </a:r>
            <a:r>
              <a:rPr lang="de-DE" err="1"/>
              <a:t>along</a:t>
            </a:r>
            <a:r>
              <a:rPr lang="de-DE"/>
              <a:t> time </a:t>
            </a:r>
            <a:r>
              <a:rPr lang="de-DE" err="1"/>
              <a:t>series</a:t>
            </a:r>
            <a:endParaRPr lang="de-DE"/>
          </a:p>
        </p:txBody>
      </p:sp>
      <p:sp>
        <p:nvSpPr>
          <p:cNvPr id="28" name="Textfeld 27">
            <a:extLst>
              <a:ext uri="{FF2B5EF4-FFF2-40B4-BE49-F238E27FC236}">
                <a16:creationId xmlns:a16="http://schemas.microsoft.com/office/drawing/2014/main" id="{44B5355A-ECCB-8FB9-5F9C-7428A9A1701E}"/>
              </a:ext>
            </a:extLst>
          </p:cNvPr>
          <p:cNvSpPr txBox="1"/>
          <p:nvPr/>
        </p:nvSpPr>
        <p:spPr>
          <a:xfrm>
            <a:off x="8152753" y="3875457"/>
            <a:ext cx="3506678" cy="716414"/>
          </a:xfrm>
          <a:prstGeom prst="rect">
            <a:avLst/>
          </a:prstGeom>
          <a:solidFill>
            <a:schemeClr val="bg1"/>
          </a:solidFill>
        </p:spPr>
        <p:txBody>
          <a:bodyPr wrap="square" lIns="0" tIns="0" rIns="0" bIns="0" rtlCol="0">
            <a:noAutofit/>
          </a:bodyPr>
          <a:lstStyle/>
          <a:p>
            <a:pPr>
              <a:lnSpc>
                <a:spcPct val="110000"/>
              </a:lnSpc>
              <a:spcAft>
                <a:spcPts val="1000"/>
              </a:spcAft>
            </a:pPr>
            <a:r>
              <a:rPr lang="de-DE" sz="1400">
                <a:solidFill>
                  <a:schemeClr val="tx2">
                    <a:lumMod val="75000"/>
                  </a:schemeClr>
                </a:solidFill>
              </a:rPr>
              <a:t>Die </a:t>
            </a:r>
            <a:r>
              <a:rPr lang="de-DE" sz="1400" b="1">
                <a:solidFill>
                  <a:schemeClr val="tx2">
                    <a:lumMod val="75000"/>
                  </a:schemeClr>
                </a:solidFill>
              </a:rPr>
              <a:t>abstrakten Features </a:t>
            </a:r>
            <a:r>
              <a:rPr lang="de-DE" sz="1400">
                <a:solidFill>
                  <a:schemeClr val="tx2">
                    <a:lumMod val="75000"/>
                  </a:schemeClr>
                </a:solidFill>
              </a:rPr>
              <a:t>und wichtigen </a:t>
            </a:r>
            <a:r>
              <a:rPr lang="de-DE" sz="1400" b="1">
                <a:solidFill>
                  <a:schemeClr val="tx2">
                    <a:lumMod val="75000"/>
                  </a:schemeClr>
                </a:solidFill>
              </a:rPr>
              <a:t>Bereiche</a:t>
            </a:r>
            <a:r>
              <a:rPr lang="de-DE" sz="1400">
                <a:solidFill>
                  <a:schemeClr val="tx2">
                    <a:lumMod val="75000"/>
                  </a:schemeClr>
                </a:solidFill>
              </a:rPr>
              <a:t> in den Zeitreihen, die im CNN für die Klassifikation </a:t>
            </a:r>
            <a:r>
              <a:rPr lang="de-DE" sz="1400" b="1">
                <a:solidFill>
                  <a:schemeClr val="tx2">
                    <a:lumMod val="75000"/>
                  </a:schemeClr>
                </a:solidFill>
              </a:rPr>
              <a:t>Einfluss</a:t>
            </a:r>
            <a:r>
              <a:rPr lang="de-DE" sz="1400">
                <a:solidFill>
                  <a:schemeClr val="tx2">
                    <a:lumMod val="75000"/>
                  </a:schemeClr>
                </a:solidFill>
              </a:rPr>
              <a:t> haben, können mittels Grad-Cam gut </a:t>
            </a:r>
            <a:r>
              <a:rPr lang="de-DE" sz="1400" b="1">
                <a:solidFill>
                  <a:schemeClr val="tx2">
                    <a:lumMod val="75000"/>
                  </a:schemeClr>
                </a:solidFill>
              </a:rPr>
              <a:t>visualisiert</a:t>
            </a:r>
            <a:r>
              <a:rPr lang="de-DE" sz="1400">
                <a:solidFill>
                  <a:schemeClr val="tx2">
                    <a:lumMod val="75000"/>
                  </a:schemeClr>
                </a:solidFill>
              </a:rPr>
              <a:t> werden </a:t>
            </a:r>
          </a:p>
        </p:txBody>
      </p:sp>
      <p:sp>
        <p:nvSpPr>
          <p:cNvPr id="29" name="Textfeld 28">
            <a:extLst>
              <a:ext uri="{FF2B5EF4-FFF2-40B4-BE49-F238E27FC236}">
                <a16:creationId xmlns:a16="http://schemas.microsoft.com/office/drawing/2014/main" id="{D3421F0E-F8A1-751B-9675-1A2F940894CE}"/>
              </a:ext>
            </a:extLst>
          </p:cNvPr>
          <p:cNvSpPr txBox="1"/>
          <p:nvPr/>
        </p:nvSpPr>
        <p:spPr>
          <a:xfrm>
            <a:off x="4383157" y="2242708"/>
            <a:ext cx="3506678" cy="961781"/>
          </a:xfrm>
          <a:prstGeom prst="rect">
            <a:avLst/>
          </a:prstGeom>
          <a:solidFill>
            <a:schemeClr val="bg1"/>
          </a:solidFill>
        </p:spPr>
        <p:txBody>
          <a:bodyPr wrap="square" lIns="0" tIns="0" rIns="0" bIns="0" rtlCol="0">
            <a:noAutofit/>
          </a:bodyPr>
          <a:lstStyle/>
          <a:p>
            <a:pPr>
              <a:lnSpc>
                <a:spcPct val="110000"/>
              </a:lnSpc>
              <a:spcAft>
                <a:spcPts val="1000"/>
              </a:spcAft>
            </a:pPr>
            <a:r>
              <a:rPr lang="de-DE" sz="1400">
                <a:solidFill>
                  <a:schemeClr val="tx2">
                    <a:lumMod val="75000"/>
                  </a:schemeClr>
                </a:solidFill>
              </a:rPr>
              <a:t>Model, das aus Daten lernt und </a:t>
            </a:r>
            <a:r>
              <a:rPr lang="de-DE" sz="1400" b="1">
                <a:solidFill>
                  <a:schemeClr val="tx2">
                    <a:lumMod val="75000"/>
                  </a:schemeClr>
                </a:solidFill>
              </a:rPr>
              <a:t>Vorhersagen treffen </a:t>
            </a:r>
            <a:r>
              <a:rPr lang="de-DE" sz="1400">
                <a:solidFill>
                  <a:schemeClr val="tx2">
                    <a:lumMod val="75000"/>
                  </a:schemeClr>
                </a:solidFill>
              </a:rPr>
              <a:t>kann.</a:t>
            </a:r>
          </a:p>
          <a:p>
            <a:pPr>
              <a:lnSpc>
                <a:spcPct val="110000"/>
              </a:lnSpc>
              <a:spcAft>
                <a:spcPts val="1000"/>
              </a:spcAft>
            </a:pPr>
            <a:r>
              <a:rPr lang="de-DE" sz="1400">
                <a:solidFill>
                  <a:schemeClr val="tx2">
                    <a:lumMod val="75000"/>
                  </a:schemeClr>
                </a:solidFill>
              </a:rPr>
              <a:t>In Bezug auf Zeitreihen meint dies die </a:t>
            </a:r>
            <a:r>
              <a:rPr lang="de-DE" sz="1400" b="1">
                <a:solidFill>
                  <a:schemeClr val="tx2">
                    <a:lumMod val="75000"/>
                  </a:schemeClr>
                </a:solidFill>
              </a:rPr>
              <a:t>Klassifikation von Zeitreihen </a:t>
            </a:r>
          </a:p>
          <a:p>
            <a:pPr algn="l">
              <a:lnSpc>
                <a:spcPct val="110000"/>
              </a:lnSpc>
              <a:spcAft>
                <a:spcPts val="1000"/>
              </a:spcAft>
            </a:pPr>
            <a:endParaRPr lang="de-DE" sz="1400">
              <a:solidFill>
                <a:schemeClr val="tx2">
                  <a:lumMod val="75000"/>
                </a:schemeClr>
              </a:solidFill>
            </a:endParaRPr>
          </a:p>
        </p:txBody>
      </p:sp>
      <p:sp>
        <p:nvSpPr>
          <p:cNvPr id="30" name="Textfeld 29">
            <a:extLst>
              <a:ext uri="{FF2B5EF4-FFF2-40B4-BE49-F238E27FC236}">
                <a16:creationId xmlns:a16="http://schemas.microsoft.com/office/drawing/2014/main" id="{2E7114DC-F4D5-34DA-E57D-C8B0305388A0}"/>
              </a:ext>
            </a:extLst>
          </p:cNvPr>
          <p:cNvSpPr txBox="1"/>
          <p:nvPr/>
        </p:nvSpPr>
        <p:spPr>
          <a:xfrm>
            <a:off x="4383157" y="3801749"/>
            <a:ext cx="3659078" cy="991798"/>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Einfaches CNN</a:t>
            </a:r>
          </a:p>
          <a:p>
            <a:pPr>
              <a:lnSpc>
                <a:spcPct val="110000"/>
              </a:lnSpc>
              <a:spcAft>
                <a:spcPts val="1000"/>
              </a:spcAft>
            </a:pPr>
            <a:endParaRPr lang="de-DE" sz="1400">
              <a:solidFill>
                <a:schemeClr val="tx2">
                  <a:lumMod val="75000"/>
                </a:schemeClr>
              </a:solidFill>
            </a:endParaRPr>
          </a:p>
        </p:txBody>
      </p:sp>
      <p:sp>
        <p:nvSpPr>
          <p:cNvPr id="33" name="Textfeld 32">
            <a:extLst>
              <a:ext uri="{FF2B5EF4-FFF2-40B4-BE49-F238E27FC236}">
                <a16:creationId xmlns:a16="http://schemas.microsoft.com/office/drawing/2014/main" id="{8582C8E5-3A93-8F84-E4B5-B27EB3A0FA99}"/>
              </a:ext>
            </a:extLst>
          </p:cNvPr>
          <p:cNvSpPr txBox="1"/>
          <p:nvPr/>
        </p:nvSpPr>
        <p:spPr>
          <a:xfrm>
            <a:off x="638879" y="3800550"/>
            <a:ext cx="3506678" cy="991798"/>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Coffee Dataset</a:t>
            </a:r>
            <a:endParaRPr lang="de-DE" sz="1400">
              <a:solidFill>
                <a:schemeClr val="tx2">
                  <a:lumMod val="75000"/>
                </a:schemeClr>
              </a:solidFill>
            </a:endParaRPr>
          </a:p>
        </p:txBody>
      </p:sp>
      <p:cxnSp>
        <p:nvCxnSpPr>
          <p:cNvPr id="38" name="Gerader Verbinder 37">
            <a:extLst>
              <a:ext uri="{FF2B5EF4-FFF2-40B4-BE49-F238E27FC236}">
                <a16:creationId xmlns:a16="http://schemas.microsoft.com/office/drawing/2014/main" id="{AF3B40F6-245B-56F6-A0BE-B9EF375C0C95}"/>
              </a:ext>
            </a:extLst>
          </p:cNvPr>
          <p:cNvCxnSpPr>
            <a:cxnSpLocks/>
          </p:cNvCxnSpPr>
          <p:nvPr/>
        </p:nvCxnSpPr>
        <p:spPr>
          <a:xfrm>
            <a:off x="4306941" y="3740441"/>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0ADF9A0A-36E9-DB17-4AD6-40B10F2345BE}"/>
              </a:ext>
            </a:extLst>
          </p:cNvPr>
          <p:cNvCxnSpPr>
            <a:cxnSpLocks/>
          </p:cNvCxnSpPr>
          <p:nvPr/>
        </p:nvCxnSpPr>
        <p:spPr>
          <a:xfrm flipV="1">
            <a:off x="552757" y="3740441"/>
            <a:ext cx="3570950" cy="12526"/>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0E0D7EFB-3448-5268-B556-38A465525378}"/>
              </a:ext>
            </a:extLst>
          </p:cNvPr>
          <p:cNvCxnSpPr>
            <a:cxnSpLocks/>
          </p:cNvCxnSpPr>
          <p:nvPr/>
        </p:nvCxnSpPr>
        <p:spPr>
          <a:xfrm>
            <a:off x="8042235" y="3740441"/>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pic>
        <p:nvPicPr>
          <p:cNvPr id="63" name="Grafik 62">
            <a:extLst>
              <a:ext uri="{FF2B5EF4-FFF2-40B4-BE49-F238E27FC236}">
                <a16:creationId xmlns:a16="http://schemas.microsoft.com/office/drawing/2014/main" id="{C427B0AC-5DF8-9C1D-6C3A-96A6702A249B}"/>
              </a:ext>
            </a:extLst>
          </p:cNvPr>
          <p:cNvPicPr>
            <a:picLocks noChangeAspect="1"/>
          </p:cNvPicPr>
          <p:nvPr/>
        </p:nvPicPr>
        <p:blipFill>
          <a:blip r:embed="rId5"/>
          <a:stretch>
            <a:fillRect/>
          </a:stretch>
        </p:blipFill>
        <p:spPr>
          <a:xfrm>
            <a:off x="2013958" y="2688063"/>
            <a:ext cx="1519092" cy="703283"/>
          </a:xfrm>
          <a:prstGeom prst="rect">
            <a:avLst/>
          </a:prstGeom>
          <a:ln>
            <a:solidFill>
              <a:schemeClr val="tx1"/>
            </a:solidFill>
          </a:ln>
          <a:effectLst>
            <a:outerShdw blurRad="50800" dist="38100" dir="2700000" algn="tl" rotWithShape="0">
              <a:prstClr val="black">
                <a:alpha val="40000"/>
              </a:prstClr>
            </a:outerShdw>
          </a:effectLst>
        </p:spPr>
      </p:pic>
      <p:pic>
        <p:nvPicPr>
          <p:cNvPr id="67" name="Grafik 66">
            <a:extLst>
              <a:ext uri="{FF2B5EF4-FFF2-40B4-BE49-F238E27FC236}">
                <a16:creationId xmlns:a16="http://schemas.microsoft.com/office/drawing/2014/main" id="{197BF2E4-EC88-06B1-0FB7-1B60F3E065F6}"/>
              </a:ext>
            </a:extLst>
          </p:cNvPr>
          <p:cNvPicPr>
            <a:picLocks noChangeAspect="1"/>
          </p:cNvPicPr>
          <p:nvPr/>
        </p:nvPicPr>
        <p:blipFill>
          <a:blip r:embed="rId6"/>
          <a:stretch>
            <a:fillRect/>
          </a:stretch>
        </p:blipFill>
        <p:spPr>
          <a:xfrm>
            <a:off x="1457836" y="2517752"/>
            <a:ext cx="1484556" cy="749887"/>
          </a:xfrm>
          <a:prstGeom prst="rect">
            <a:avLst/>
          </a:prstGeom>
          <a:ln>
            <a:solidFill>
              <a:schemeClr val="tx1"/>
            </a:solidFill>
          </a:ln>
          <a:effectLst>
            <a:outerShdw blurRad="50800" dist="38100" dir="2700000" algn="tl" rotWithShape="0">
              <a:prstClr val="black">
                <a:alpha val="40000"/>
              </a:prstClr>
            </a:outerShdw>
          </a:effectLst>
        </p:spPr>
      </p:pic>
      <p:pic>
        <p:nvPicPr>
          <p:cNvPr id="70" name="Grafik 69">
            <a:extLst>
              <a:ext uri="{FF2B5EF4-FFF2-40B4-BE49-F238E27FC236}">
                <a16:creationId xmlns:a16="http://schemas.microsoft.com/office/drawing/2014/main" id="{774A8097-64C4-9AEA-A554-50FBD48F2E96}"/>
              </a:ext>
            </a:extLst>
          </p:cNvPr>
          <p:cNvPicPr>
            <a:picLocks noChangeAspect="1"/>
          </p:cNvPicPr>
          <p:nvPr/>
        </p:nvPicPr>
        <p:blipFill>
          <a:blip r:embed="rId7"/>
          <a:stretch>
            <a:fillRect/>
          </a:stretch>
        </p:blipFill>
        <p:spPr>
          <a:xfrm>
            <a:off x="906967" y="2372565"/>
            <a:ext cx="1499773" cy="749887"/>
          </a:xfrm>
          <a:prstGeom prst="rect">
            <a:avLst/>
          </a:prstGeom>
          <a:ln>
            <a:solidFill>
              <a:schemeClr val="tx1"/>
            </a:solidFill>
          </a:ln>
          <a:effectLst>
            <a:outerShdw blurRad="50800" dist="38100" dir="2700000" algn="tl" rotWithShape="0">
              <a:prstClr val="black">
                <a:alpha val="40000"/>
              </a:prstClr>
            </a:outerShdw>
          </a:effectLst>
        </p:spPr>
      </p:pic>
      <p:sp>
        <p:nvSpPr>
          <p:cNvPr id="6" name="Textplatzhalter 5">
            <a:extLst>
              <a:ext uri="{FF2B5EF4-FFF2-40B4-BE49-F238E27FC236}">
                <a16:creationId xmlns:a16="http://schemas.microsoft.com/office/drawing/2014/main" id="{2FECF01C-DACC-54ED-6DB2-9A8753AA1AF2}"/>
              </a:ext>
            </a:extLst>
          </p:cNvPr>
          <p:cNvSpPr>
            <a:spLocks noGrp="1"/>
          </p:cNvSpPr>
          <p:nvPr>
            <p:ph type="body" sz="quarter" idx="28"/>
          </p:nvPr>
        </p:nvSpPr>
        <p:spPr>
          <a:xfrm>
            <a:off x="539751" y="971685"/>
            <a:ext cx="10232472" cy="528638"/>
          </a:xfrm>
        </p:spPr>
        <p:txBody>
          <a:bodyPr/>
          <a:lstStyle/>
          <a:p>
            <a:r>
              <a:rPr lang="de-DE"/>
              <a:t>Grad-Cam</a:t>
            </a:r>
          </a:p>
        </p:txBody>
      </p:sp>
      <p:pic>
        <p:nvPicPr>
          <p:cNvPr id="13" name="Grafik 12" descr="Lichter an mit einfarbiger Füllung">
            <a:extLst>
              <a:ext uri="{FF2B5EF4-FFF2-40B4-BE49-F238E27FC236}">
                <a16:creationId xmlns:a16="http://schemas.microsoft.com/office/drawing/2014/main" id="{00A997A1-BC98-021E-E017-8263648BF0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3466" y="5270773"/>
            <a:ext cx="542652" cy="542652"/>
          </a:xfrm>
          <a:prstGeom prst="rect">
            <a:avLst/>
          </a:prstGeom>
        </p:spPr>
      </p:pic>
      <p:pic>
        <p:nvPicPr>
          <p:cNvPr id="8" name="Grafik 7" descr="Ein Bild, das Screenshot, Diagramm, Reihe, Text enthält.&#10;&#10;Automatisch generierte Beschreibung">
            <a:extLst>
              <a:ext uri="{FF2B5EF4-FFF2-40B4-BE49-F238E27FC236}">
                <a16:creationId xmlns:a16="http://schemas.microsoft.com/office/drawing/2014/main" id="{9061DD15-273F-1350-693F-742A11BB9E4B}"/>
              </a:ext>
            </a:extLst>
          </p:cNvPr>
          <p:cNvPicPr>
            <a:picLocks noChangeAspect="1"/>
          </p:cNvPicPr>
          <p:nvPr/>
        </p:nvPicPr>
        <p:blipFill>
          <a:blip r:embed="rId10"/>
          <a:stretch>
            <a:fillRect/>
          </a:stretch>
        </p:blipFill>
        <p:spPr>
          <a:xfrm>
            <a:off x="8171889" y="2158377"/>
            <a:ext cx="3372528" cy="1522813"/>
          </a:xfrm>
          <a:prstGeom prst="rect">
            <a:avLst/>
          </a:prstGeom>
        </p:spPr>
      </p:pic>
    </p:spTree>
    <p:extLst>
      <p:ext uri="{BB962C8B-B14F-4D97-AF65-F5344CB8AC3E}">
        <p14:creationId xmlns:p14="http://schemas.microsoft.com/office/powerpoint/2010/main" val="11371070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1C16A-7C30-B22C-7849-A9AA4F2AE46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2B97695-59C4-98B7-819D-D0B621C4A106}"/>
              </a:ext>
            </a:extLst>
          </p:cNvPr>
          <p:cNvGraphicFramePr>
            <a:graphicFrameLocks noChangeAspect="1"/>
          </p:cNvGraphicFramePr>
          <p:nvPr>
            <p:custDataLst>
              <p:tags r:id="rId1"/>
            </p:custDataLst>
            <p:extLst>
              <p:ext uri="{D42A27DB-BD31-4B8C-83A1-F6EECF244321}">
                <p14:modId xmlns:p14="http://schemas.microsoft.com/office/powerpoint/2010/main" val="1078493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62B97695-59C4-98B7-819D-D0B621C4A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8A6C0420-AD91-EDDE-28F3-BDDA606026D2}"/>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3B1A6652-2028-D6EE-CA1F-4B9E15F903F0}"/>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18311AB2-2AA7-8103-A65E-F3DD9DF34B0B}"/>
              </a:ext>
            </a:extLst>
          </p:cNvPr>
          <p:cNvSpPr>
            <a:spLocks noGrp="1"/>
          </p:cNvSpPr>
          <p:nvPr>
            <p:ph type="sldNum" sz="quarter" idx="12"/>
          </p:nvPr>
        </p:nvSpPr>
        <p:spPr/>
        <p:txBody>
          <a:bodyPr/>
          <a:lstStyle/>
          <a:p>
            <a:fld id="{02CEFE82-39F2-4F47-8A0C-D5AB3496FA5C}" type="slidenum">
              <a:rPr lang="de-DE" noProof="0" smtClean="0"/>
              <a:pPr/>
              <a:t>12</a:t>
            </a:fld>
            <a:endParaRPr lang="de-DE" noProof="0"/>
          </a:p>
        </p:txBody>
      </p:sp>
      <p:sp>
        <p:nvSpPr>
          <p:cNvPr id="5" name="Titel 4">
            <a:extLst>
              <a:ext uri="{FF2B5EF4-FFF2-40B4-BE49-F238E27FC236}">
                <a16:creationId xmlns:a16="http://schemas.microsoft.com/office/drawing/2014/main" id="{981C37FC-2427-8B32-C06D-72808D2225C2}"/>
              </a:ext>
            </a:extLst>
          </p:cNvPr>
          <p:cNvSpPr>
            <a:spLocks noGrp="1"/>
          </p:cNvSpPr>
          <p:nvPr>
            <p:ph type="title"/>
          </p:nvPr>
        </p:nvSpPr>
        <p:spPr/>
        <p:txBody>
          <a:bodyPr vert="horz"/>
          <a:lstStyle/>
          <a:p>
            <a:r>
              <a:rPr lang="de-DE"/>
              <a:t>Modifikation der Zeitreihen</a:t>
            </a:r>
          </a:p>
        </p:txBody>
      </p:sp>
      <p:sp>
        <p:nvSpPr>
          <p:cNvPr id="19" name="Textplatzhalter 5">
            <a:extLst>
              <a:ext uri="{FF2B5EF4-FFF2-40B4-BE49-F238E27FC236}">
                <a16:creationId xmlns:a16="http://schemas.microsoft.com/office/drawing/2014/main" id="{A271B1B3-D201-51B0-ADFA-1353756EF9F0}"/>
              </a:ext>
            </a:extLst>
          </p:cNvPr>
          <p:cNvSpPr>
            <a:spLocks noGrp="1"/>
          </p:cNvSpPr>
          <p:nvPr>
            <p:ph type="body" sz="quarter" idx="28"/>
          </p:nvPr>
        </p:nvSpPr>
        <p:spPr>
          <a:xfrm>
            <a:off x="539751" y="971685"/>
            <a:ext cx="10232472" cy="528638"/>
          </a:xfrm>
        </p:spPr>
        <p:txBody>
          <a:bodyPr/>
          <a:lstStyle/>
          <a:p>
            <a:r>
              <a:rPr lang="de-DE"/>
              <a:t>Auf Basis der Ergebnisse von Grad-Cam und Pattern </a:t>
            </a:r>
            <a:r>
              <a:rPr lang="de-DE" err="1"/>
              <a:t>Extraction</a:t>
            </a:r>
            <a:r>
              <a:rPr lang="de-DE"/>
              <a:t> </a:t>
            </a:r>
          </a:p>
        </p:txBody>
      </p:sp>
      <p:sp>
        <p:nvSpPr>
          <p:cNvPr id="22" name="Textfeld 21">
            <a:extLst>
              <a:ext uri="{FF2B5EF4-FFF2-40B4-BE49-F238E27FC236}">
                <a16:creationId xmlns:a16="http://schemas.microsoft.com/office/drawing/2014/main" id="{85CE3205-0732-2629-3252-83FD01E9B1C7}"/>
              </a:ext>
            </a:extLst>
          </p:cNvPr>
          <p:cNvSpPr txBox="1"/>
          <p:nvPr/>
        </p:nvSpPr>
        <p:spPr>
          <a:xfrm>
            <a:off x="6428259" y="2295358"/>
            <a:ext cx="4390257" cy="1903017"/>
          </a:xfrm>
          <a:prstGeom prst="rect">
            <a:avLst/>
          </a:prstGeom>
          <a:noFill/>
        </p:spPr>
        <p:txBody>
          <a:bodyPr wrap="square" lIns="0" tIns="0" rIns="0" bIns="0" rtlCol="0">
            <a:noAutofit/>
          </a:bodyPr>
          <a:lstStyle/>
          <a:p>
            <a:pPr marL="342900" indent="-342900">
              <a:lnSpc>
                <a:spcPct val="110000"/>
              </a:lnSpc>
              <a:spcAft>
                <a:spcPts val="1000"/>
              </a:spcAft>
              <a:buAutoNum type="arabicPeriod"/>
            </a:pPr>
            <a:r>
              <a:rPr lang="de-DE" sz="1400" b="1">
                <a:solidFill>
                  <a:schemeClr val="tx2">
                    <a:lumMod val="75000"/>
                  </a:schemeClr>
                </a:solidFill>
                <a:sym typeface="Wingdings" panose="05000000000000000000" pitchFamily="2" charset="2"/>
              </a:rPr>
              <a:t>Ersetzung durch Mittelwert aller Samples des Datensatzes</a:t>
            </a:r>
          </a:p>
          <a:p>
            <a:pPr marL="342900" indent="-342900">
              <a:lnSpc>
                <a:spcPct val="110000"/>
              </a:lnSpc>
              <a:spcAft>
                <a:spcPts val="1000"/>
              </a:spcAft>
              <a:buAutoNum type="arabicPeriod"/>
            </a:pPr>
            <a:r>
              <a:rPr lang="de-DE" sz="1400">
                <a:solidFill>
                  <a:schemeClr val="tx2">
                    <a:lumMod val="75000"/>
                  </a:schemeClr>
                </a:solidFill>
                <a:sym typeface="Wingdings" panose="05000000000000000000" pitchFamily="2" charset="2"/>
              </a:rPr>
              <a:t>Lineare Interpolation</a:t>
            </a:r>
          </a:p>
          <a:p>
            <a:pPr marL="342900" indent="-342900">
              <a:lnSpc>
                <a:spcPct val="110000"/>
              </a:lnSpc>
              <a:spcAft>
                <a:spcPts val="1000"/>
              </a:spcAft>
              <a:buAutoNum type="arabicPeriod"/>
            </a:pPr>
            <a:r>
              <a:rPr lang="de-DE" sz="1400">
                <a:solidFill>
                  <a:schemeClr val="tx2">
                    <a:lumMod val="75000"/>
                  </a:schemeClr>
                </a:solidFill>
                <a:sym typeface="Wingdings" panose="05000000000000000000" pitchFamily="2" charset="2"/>
              </a:rPr>
              <a:t>Intervall auf Null setzen</a:t>
            </a:r>
            <a:endParaRPr lang="de-DE" sz="1400">
              <a:solidFill>
                <a:schemeClr val="tx2">
                  <a:lumMod val="75000"/>
                </a:schemeClr>
              </a:solidFill>
              <a:highlight>
                <a:srgbClr val="FFFF00"/>
              </a:highlight>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p:txBody>
      </p:sp>
      <p:sp>
        <p:nvSpPr>
          <p:cNvPr id="23" name="Textfeld 22">
            <a:extLst>
              <a:ext uri="{FF2B5EF4-FFF2-40B4-BE49-F238E27FC236}">
                <a16:creationId xmlns:a16="http://schemas.microsoft.com/office/drawing/2014/main" id="{4A6C7938-8CBA-BB33-253A-DA10F01812DC}"/>
              </a:ext>
            </a:extLst>
          </p:cNvPr>
          <p:cNvSpPr txBox="1"/>
          <p:nvPr/>
        </p:nvSpPr>
        <p:spPr>
          <a:xfrm>
            <a:off x="6385577" y="1844763"/>
            <a:ext cx="4390257" cy="208277"/>
          </a:xfrm>
          <a:prstGeom prst="rect">
            <a:avLst/>
          </a:prstGeom>
          <a:noFill/>
        </p:spPr>
        <p:txBody>
          <a:bodyPr wrap="square" lIns="0" tIns="0" rIns="0" bIns="0" rtlCol="0">
            <a:noAutofit/>
          </a:bodyPr>
          <a:lstStyle/>
          <a:p>
            <a:pPr>
              <a:lnSpc>
                <a:spcPct val="110000"/>
              </a:lnSpc>
              <a:spcAft>
                <a:spcPts val="1000"/>
              </a:spcAft>
            </a:pPr>
            <a:r>
              <a:rPr lang="de-DE" b="1" err="1">
                <a:solidFill>
                  <a:srgbClr val="007749"/>
                </a:solidFill>
                <a:sym typeface="Wingdings" panose="05000000000000000000" pitchFamily="2" charset="2"/>
              </a:rPr>
              <a:t>Modifikations</a:t>
            </a:r>
            <a:r>
              <a:rPr lang="de-DE" b="1">
                <a:solidFill>
                  <a:srgbClr val="007749"/>
                </a:solidFill>
                <a:sym typeface="Wingdings" panose="05000000000000000000" pitchFamily="2" charset="2"/>
              </a:rPr>
              <a:t> Ansätze:</a:t>
            </a:r>
          </a:p>
        </p:txBody>
      </p:sp>
      <p:cxnSp>
        <p:nvCxnSpPr>
          <p:cNvPr id="24" name="Gerader Verbinder 23">
            <a:extLst>
              <a:ext uri="{FF2B5EF4-FFF2-40B4-BE49-F238E27FC236}">
                <a16:creationId xmlns:a16="http://schemas.microsoft.com/office/drawing/2014/main" id="{EBDD0C4C-FCD0-FBEC-4EED-C38CFDFD1F86}"/>
              </a:ext>
            </a:extLst>
          </p:cNvPr>
          <p:cNvCxnSpPr>
            <a:cxnSpLocks/>
          </p:cNvCxnSpPr>
          <p:nvPr/>
        </p:nvCxnSpPr>
        <p:spPr>
          <a:xfrm>
            <a:off x="559703" y="2142309"/>
            <a:ext cx="4937486"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81E9400-D79D-8218-76B8-409217683E30}"/>
              </a:ext>
            </a:extLst>
          </p:cNvPr>
          <p:cNvCxnSpPr>
            <a:cxnSpLocks/>
          </p:cNvCxnSpPr>
          <p:nvPr/>
        </p:nvCxnSpPr>
        <p:spPr>
          <a:xfrm>
            <a:off x="6355526" y="2142309"/>
            <a:ext cx="4956667"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CA1E40A0-641E-CB03-C5CF-B9012A230CFB}"/>
              </a:ext>
            </a:extLst>
          </p:cNvPr>
          <p:cNvSpPr txBox="1"/>
          <p:nvPr/>
        </p:nvSpPr>
        <p:spPr>
          <a:xfrm>
            <a:off x="581018" y="1846413"/>
            <a:ext cx="4390257" cy="379920"/>
          </a:xfrm>
          <a:prstGeom prst="rect">
            <a:avLst/>
          </a:prstGeom>
          <a:noFill/>
        </p:spPr>
        <p:txBody>
          <a:bodyPr wrap="square" lIns="0" tIns="0" rIns="0" bIns="0" rtlCol="0">
            <a:noAutofit/>
          </a:bodyPr>
          <a:lstStyle/>
          <a:p>
            <a:pPr>
              <a:lnSpc>
                <a:spcPct val="110000"/>
              </a:lnSpc>
              <a:spcAft>
                <a:spcPts val="1000"/>
              </a:spcAft>
            </a:pPr>
            <a:r>
              <a:rPr lang="de-DE" b="1">
                <a:solidFill>
                  <a:srgbClr val="007749"/>
                </a:solidFill>
                <a:sym typeface="Wingdings" panose="05000000000000000000" pitchFamily="2" charset="2"/>
              </a:rPr>
              <a:t>Idee:</a:t>
            </a:r>
          </a:p>
        </p:txBody>
      </p:sp>
      <p:cxnSp>
        <p:nvCxnSpPr>
          <p:cNvPr id="8" name="Gerade Verbindung mit Pfeil 7">
            <a:extLst>
              <a:ext uri="{FF2B5EF4-FFF2-40B4-BE49-F238E27FC236}">
                <a16:creationId xmlns:a16="http://schemas.microsoft.com/office/drawing/2014/main" id="{95D4ABA6-A971-75B4-2F8C-6BABCD717D5F}"/>
              </a:ext>
            </a:extLst>
          </p:cNvPr>
          <p:cNvCxnSpPr/>
          <p:nvPr/>
        </p:nvCxnSpPr>
        <p:spPr>
          <a:xfrm>
            <a:off x="709144" y="3394802"/>
            <a:ext cx="2101867" cy="0"/>
          </a:xfrm>
          <a:prstGeom prst="straightConnector1">
            <a:avLst/>
          </a:prstGeom>
          <a:ln w="9525" cap="rnd">
            <a:solidFill>
              <a:srgbClr val="002456"/>
            </a:solidFill>
            <a:tailEnd type="triangle"/>
          </a:ln>
        </p:spPr>
        <p:style>
          <a:lnRef idx="1">
            <a:schemeClr val="accent1"/>
          </a:lnRef>
          <a:fillRef idx="0">
            <a:schemeClr val="accent1"/>
          </a:fillRef>
          <a:effectRef idx="0">
            <a:schemeClr val="accent1"/>
          </a:effectRef>
          <a:fontRef idx="minor">
            <a:schemeClr val="tx1"/>
          </a:fontRef>
        </p:style>
      </p:cxnSp>
      <p:cxnSp>
        <p:nvCxnSpPr>
          <p:cNvPr id="9" name="Gerade Verbindung mit Pfeil 8">
            <a:extLst>
              <a:ext uri="{FF2B5EF4-FFF2-40B4-BE49-F238E27FC236}">
                <a16:creationId xmlns:a16="http://schemas.microsoft.com/office/drawing/2014/main" id="{0B8B0AEC-02A8-1839-E5D8-CBB23CA1AF22}"/>
              </a:ext>
            </a:extLst>
          </p:cNvPr>
          <p:cNvCxnSpPr>
            <a:cxnSpLocks/>
          </p:cNvCxnSpPr>
          <p:nvPr/>
        </p:nvCxnSpPr>
        <p:spPr>
          <a:xfrm flipH="1" flipV="1">
            <a:off x="709144" y="2436066"/>
            <a:ext cx="6868" cy="964835"/>
          </a:xfrm>
          <a:prstGeom prst="straightConnector1">
            <a:avLst/>
          </a:prstGeom>
          <a:ln w="9525" cap="rnd">
            <a:solidFill>
              <a:srgbClr val="002456"/>
            </a:solidFill>
            <a:tailEnd type="triangl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9C204F05-A085-AB80-7732-45945C41E5B5}"/>
              </a:ext>
            </a:extLst>
          </p:cNvPr>
          <p:cNvSpPr txBox="1"/>
          <p:nvPr/>
        </p:nvSpPr>
        <p:spPr>
          <a:xfrm>
            <a:off x="6428259" y="3882893"/>
            <a:ext cx="4390257" cy="1903017"/>
          </a:xfrm>
          <a:prstGeom prst="rect">
            <a:avLst/>
          </a:prstGeom>
          <a:noFill/>
        </p:spPr>
        <p:txBody>
          <a:bodyPr wrap="square" lIns="0" tIns="0" rIns="0" bIns="0" rtlCol="0">
            <a:noAutofit/>
          </a:bodyPr>
          <a:lstStyle/>
          <a:p>
            <a:pPr>
              <a:lnSpc>
                <a:spcPct val="110000"/>
              </a:lnSpc>
              <a:spcAft>
                <a:spcPts val="1000"/>
              </a:spcAft>
            </a:pPr>
            <a:r>
              <a:rPr lang="de-DE" sz="1400" b="1" u="sng">
                <a:solidFill>
                  <a:schemeClr val="tx2">
                    <a:lumMod val="75000"/>
                  </a:schemeClr>
                </a:solidFill>
                <a:sym typeface="Wingdings" pitchFamily="2" charset="2"/>
              </a:rPr>
              <a:t>Zwei mögliche Vorgehen</a:t>
            </a:r>
            <a:r>
              <a:rPr lang="de-DE" sz="1400">
                <a:solidFill>
                  <a:schemeClr val="tx2">
                    <a:lumMod val="75000"/>
                  </a:schemeClr>
                </a:solidFill>
                <a:sym typeface="Wingdings" pitchFamily="2" charset="2"/>
              </a:rPr>
              <a:t>:</a:t>
            </a:r>
          </a:p>
          <a:p>
            <a:pPr marL="342900" indent="-342900">
              <a:lnSpc>
                <a:spcPct val="110000"/>
              </a:lnSpc>
              <a:spcAft>
                <a:spcPts val="1000"/>
              </a:spcAft>
              <a:buFont typeface="+mj-lt"/>
              <a:buAutoNum type="arabicPeriod"/>
            </a:pPr>
            <a:r>
              <a:rPr lang="de-DE" sz="1400" b="1">
                <a:solidFill>
                  <a:schemeClr val="tx2">
                    <a:lumMod val="75000"/>
                  </a:schemeClr>
                </a:solidFill>
                <a:sym typeface="Wingdings" pitchFamily="2" charset="2"/>
              </a:rPr>
              <a:t>Ansatz auf gefundene Intervalle anwenden und untersuchen, wie stark Konfidenz abnimmt</a:t>
            </a:r>
          </a:p>
          <a:p>
            <a:pPr marL="342900" indent="-342900">
              <a:lnSpc>
                <a:spcPct val="110000"/>
              </a:lnSpc>
              <a:spcAft>
                <a:spcPts val="1000"/>
              </a:spcAft>
              <a:buFont typeface="+mj-lt"/>
              <a:buAutoNum type="arabicPeriod"/>
            </a:pPr>
            <a:r>
              <a:rPr lang="de-DE" sz="1400">
                <a:solidFill>
                  <a:schemeClr val="tx2">
                    <a:lumMod val="75000"/>
                  </a:schemeClr>
                </a:solidFill>
                <a:sym typeface="Wingdings" pitchFamily="2" charset="2"/>
              </a:rPr>
              <a:t>Ansatz auf Bereiche zwischen Intervallen anwenden und untersuchen, ob Konfidenz unverändert hoch bleibt</a:t>
            </a:r>
          </a:p>
        </p:txBody>
      </p:sp>
      <mc:AlternateContent xmlns:mc="http://schemas.openxmlformats.org/markup-compatibility/2006" xmlns:p14="http://schemas.microsoft.com/office/powerpoint/2010/main">
        <mc:Choice Requires="p14">
          <p:contentPart p14:bwMode="auto" r:id="rId5">
            <p14:nvContentPartPr>
              <p14:cNvPr id="12" name="Freihand 11">
                <a:extLst>
                  <a:ext uri="{FF2B5EF4-FFF2-40B4-BE49-F238E27FC236}">
                    <a16:creationId xmlns:a16="http://schemas.microsoft.com/office/drawing/2014/main" id="{AE49A535-9C5B-BE2E-705F-21CC3B519D04}"/>
                  </a:ext>
                </a:extLst>
              </p14:cNvPr>
              <p14:cNvContentPartPr/>
              <p14:nvPr/>
            </p14:nvContentPartPr>
            <p14:xfrm>
              <a:off x="733538" y="2567444"/>
              <a:ext cx="2012760" cy="659520"/>
            </p14:xfrm>
          </p:contentPart>
        </mc:Choice>
        <mc:Fallback xmlns="">
          <p:pic>
            <p:nvPicPr>
              <p:cNvPr id="12" name="Freihand 11">
                <a:extLst>
                  <a:ext uri="{FF2B5EF4-FFF2-40B4-BE49-F238E27FC236}">
                    <a16:creationId xmlns:a16="http://schemas.microsoft.com/office/drawing/2014/main" id="{AE49A535-9C5B-BE2E-705F-21CC3B519D04}"/>
                  </a:ext>
                </a:extLst>
              </p:cNvPr>
              <p:cNvPicPr/>
              <p:nvPr/>
            </p:nvPicPr>
            <p:blipFill>
              <a:blip r:embed="rId6"/>
              <a:stretch>
                <a:fillRect/>
              </a:stretch>
            </p:blipFill>
            <p:spPr>
              <a:xfrm>
                <a:off x="727418" y="2561324"/>
                <a:ext cx="2025000" cy="671760"/>
              </a:xfrm>
              <a:prstGeom prst="rect">
                <a:avLst/>
              </a:prstGeom>
            </p:spPr>
          </p:pic>
        </mc:Fallback>
      </mc:AlternateContent>
      <p:cxnSp>
        <p:nvCxnSpPr>
          <p:cNvPr id="10" name="Gerade Verbindung mit Pfeil 9">
            <a:extLst>
              <a:ext uri="{FF2B5EF4-FFF2-40B4-BE49-F238E27FC236}">
                <a16:creationId xmlns:a16="http://schemas.microsoft.com/office/drawing/2014/main" id="{CA1032C5-BCED-C302-2E72-E7929D942BF8}"/>
              </a:ext>
            </a:extLst>
          </p:cNvPr>
          <p:cNvCxnSpPr/>
          <p:nvPr/>
        </p:nvCxnSpPr>
        <p:spPr>
          <a:xfrm>
            <a:off x="3277226" y="3388703"/>
            <a:ext cx="2101867" cy="0"/>
          </a:xfrm>
          <a:prstGeom prst="straightConnector1">
            <a:avLst/>
          </a:prstGeom>
          <a:ln w="9525" cap="rnd">
            <a:solidFill>
              <a:srgbClr val="002456"/>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2ACDB7FD-7819-5DFE-6567-C31B60626B35}"/>
              </a:ext>
            </a:extLst>
          </p:cNvPr>
          <p:cNvCxnSpPr>
            <a:cxnSpLocks/>
          </p:cNvCxnSpPr>
          <p:nvPr/>
        </p:nvCxnSpPr>
        <p:spPr>
          <a:xfrm flipH="1" flipV="1">
            <a:off x="3277226" y="2429967"/>
            <a:ext cx="6868" cy="964835"/>
          </a:xfrm>
          <a:prstGeom prst="straightConnector1">
            <a:avLst/>
          </a:prstGeom>
          <a:ln w="9525" cap="rnd">
            <a:solidFill>
              <a:srgbClr val="002456"/>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7">
            <p14:nvContentPartPr>
              <p14:cNvPr id="13" name="Freihand 12">
                <a:extLst>
                  <a:ext uri="{FF2B5EF4-FFF2-40B4-BE49-F238E27FC236}">
                    <a16:creationId xmlns:a16="http://schemas.microsoft.com/office/drawing/2014/main" id="{25280439-8A01-7C60-2518-A320D1DE9B40}"/>
                  </a:ext>
                </a:extLst>
              </p14:cNvPr>
              <p14:cNvContentPartPr/>
              <p14:nvPr/>
            </p14:nvContentPartPr>
            <p14:xfrm>
              <a:off x="3301620" y="2561345"/>
              <a:ext cx="2012760" cy="659520"/>
            </p14:xfrm>
          </p:contentPart>
        </mc:Choice>
        <mc:Fallback xmlns="">
          <p:pic>
            <p:nvPicPr>
              <p:cNvPr id="13" name="Freihand 12">
                <a:extLst>
                  <a:ext uri="{FF2B5EF4-FFF2-40B4-BE49-F238E27FC236}">
                    <a16:creationId xmlns:a16="http://schemas.microsoft.com/office/drawing/2014/main" id="{25280439-8A01-7C60-2518-A320D1DE9B40}"/>
                  </a:ext>
                </a:extLst>
              </p:cNvPr>
              <p:cNvPicPr/>
              <p:nvPr/>
            </p:nvPicPr>
            <p:blipFill>
              <a:blip r:embed="rId6"/>
              <a:stretch>
                <a:fillRect/>
              </a:stretch>
            </p:blipFill>
            <p:spPr>
              <a:xfrm>
                <a:off x="3295500" y="2555225"/>
                <a:ext cx="2025000" cy="671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Freihand 15">
                <a:extLst>
                  <a:ext uri="{FF2B5EF4-FFF2-40B4-BE49-F238E27FC236}">
                    <a16:creationId xmlns:a16="http://schemas.microsoft.com/office/drawing/2014/main" id="{E6F720EB-9D6B-E005-BFE5-8EB4FF5BD8F4}"/>
                  </a:ext>
                </a:extLst>
              </p14:cNvPr>
              <p14:cNvContentPartPr/>
              <p14:nvPr/>
            </p14:nvContentPartPr>
            <p14:xfrm>
              <a:off x="2190736" y="2619436"/>
              <a:ext cx="69840" cy="125280"/>
            </p14:xfrm>
          </p:contentPart>
        </mc:Choice>
        <mc:Fallback xmlns="">
          <p:pic>
            <p:nvPicPr>
              <p:cNvPr id="16" name="Freihand 15">
                <a:extLst>
                  <a:ext uri="{FF2B5EF4-FFF2-40B4-BE49-F238E27FC236}">
                    <a16:creationId xmlns:a16="http://schemas.microsoft.com/office/drawing/2014/main" id="{E6F720EB-9D6B-E005-BFE5-8EB4FF5BD8F4}"/>
                  </a:ext>
                </a:extLst>
              </p:cNvPr>
              <p:cNvPicPr/>
              <p:nvPr/>
            </p:nvPicPr>
            <p:blipFill>
              <a:blip r:embed="rId9"/>
              <a:stretch>
                <a:fillRect/>
              </a:stretch>
            </p:blipFill>
            <p:spPr>
              <a:xfrm>
                <a:off x="2172736" y="2583332"/>
                <a:ext cx="105480" cy="197126"/>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Freihand 16">
                <a:extLst>
                  <a:ext uri="{FF2B5EF4-FFF2-40B4-BE49-F238E27FC236}">
                    <a16:creationId xmlns:a16="http://schemas.microsoft.com/office/drawing/2014/main" id="{395D70CF-93AF-5000-35B8-D8F3E9B45CAB}"/>
                  </a:ext>
                </a:extLst>
              </p14:cNvPr>
              <p14:cNvContentPartPr/>
              <p14:nvPr/>
            </p14:nvContentPartPr>
            <p14:xfrm>
              <a:off x="2221336" y="2713756"/>
              <a:ext cx="45360" cy="153720"/>
            </p14:xfrm>
          </p:contentPart>
        </mc:Choice>
        <mc:Fallback xmlns="">
          <p:pic>
            <p:nvPicPr>
              <p:cNvPr id="17" name="Freihand 16">
                <a:extLst>
                  <a:ext uri="{FF2B5EF4-FFF2-40B4-BE49-F238E27FC236}">
                    <a16:creationId xmlns:a16="http://schemas.microsoft.com/office/drawing/2014/main" id="{395D70CF-93AF-5000-35B8-D8F3E9B45CAB}"/>
                  </a:ext>
                </a:extLst>
              </p:cNvPr>
              <p:cNvPicPr/>
              <p:nvPr/>
            </p:nvPicPr>
            <p:blipFill>
              <a:blip r:embed="rId11"/>
              <a:stretch>
                <a:fillRect/>
              </a:stretch>
            </p:blipFill>
            <p:spPr>
              <a:xfrm>
                <a:off x="2203336" y="2677756"/>
                <a:ext cx="81000" cy="22536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Freihand 17">
                <a:extLst>
                  <a:ext uri="{FF2B5EF4-FFF2-40B4-BE49-F238E27FC236}">
                    <a16:creationId xmlns:a16="http://schemas.microsoft.com/office/drawing/2014/main" id="{1560EE5E-26DA-FE5E-3AF6-DB43D2AAF30B}"/>
                  </a:ext>
                </a:extLst>
              </p14:cNvPr>
              <p14:cNvContentPartPr/>
              <p14:nvPr/>
            </p14:nvContentPartPr>
            <p14:xfrm>
              <a:off x="2197936" y="2799796"/>
              <a:ext cx="6120" cy="255240"/>
            </p14:xfrm>
          </p:contentPart>
        </mc:Choice>
        <mc:Fallback xmlns="">
          <p:pic>
            <p:nvPicPr>
              <p:cNvPr id="18" name="Freihand 17">
                <a:extLst>
                  <a:ext uri="{FF2B5EF4-FFF2-40B4-BE49-F238E27FC236}">
                    <a16:creationId xmlns:a16="http://schemas.microsoft.com/office/drawing/2014/main" id="{1560EE5E-26DA-FE5E-3AF6-DB43D2AAF30B}"/>
                  </a:ext>
                </a:extLst>
              </p:cNvPr>
              <p:cNvPicPr/>
              <p:nvPr/>
            </p:nvPicPr>
            <p:blipFill>
              <a:blip r:embed="rId13"/>
              <a:stretch>
                <a:fillRect/>
              </a:stretch>
            </p:blipFill>
            <p:spPr>
              <a:xfrm>
                <a:off x="2179936" y="2763796"/>
                <a:ext cx="41760" cy="3268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4" name="Freihand 13">
                <a:extLst>
                  <a:ext uri="{FF2B5EF4-FFF2-40B4-BE49-F238E27FC236}">
                    <a16:creationId xmlns:a16="http://schemas.microsoft.com/office/drawing/2014/main" id="{DE6370AC-BE73-D174-66C3-9E7B451707EE}"/>
                  </a:ext>
                </a:extLst>
              </p14:cNvPr>
              <p14:cNvContentPartPr/>
              <p14:nvPr/>
            </p14:nvContentPartPr>
            <p14:xfrm>
              <a:off x="2178856" y="2744356"/>
              <a:ext cx="92160" cy="268200"/>
            </p14:xfrm>
          </p:contentPart>
        </mc:Choice>
        <mc:Fallback xmlns="">
          <p:pic>
            <p:nvPicPr>
              <p:cNvPr id="14" name="Freihand 13">
                <a:extLst>
                  <a:ext uri="{FF2B5EF4-FFF2-40B4-BE49-F238E27FC236}">
                    <a16:creationId xmlns:a16="http://schemas.microsoft.com/office/drawing/2014/main" id="{DE6370AC-BE73-D174-66C3-9E7B451707EE}"/>
                  </a:ext>
                </a:extLst>
              </p:cNvPr>
              <p:cNvPicPr/>
              <p:nvPr/>
            </p:nvPicPr>
            <p:blipFill>
              <a:blip r:embed="rId15"/>
              <a:stretch>
                <a:fillRect/>
              </a:stretch>
            </p:blipFill>
            <p:spPr>
              <a:xfrm>
                <a:off x="2160856" y="2708404"/>
                <a:ext cx="127800" cy="339744"/>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Freihand 19">
                <a:extLst>
                  <a:ext uri="{FF2B5EF4-FFF2-40B4-BE49-F238E27FC236}">
                    <a16:creationId xmlns:a16="http://schemas.microsoft.com/office/drawing/2014/main" id="{D0FBF3EE-F779-108A-6B38-8293C5CAD90E}"/>
                  </a:ext>
                </a:extLst>
              </p14:cNvPr>
              <p14:cNvContentPartPr/>
              <p14:nvPr/>
            </p14:nvContentPartPr>
            <p14:xfrm>
              <a:off x="2179936" y="2849116"/>
              <a:ext cx="720" cy="241200"/>
            </p14:xfrm>
          </p:contentPart>
        </mc:Choice>
        <mc:Fallback xmlns="">
          <p:pic>
            <p:nvPicPr>
              <p:cNvPr id="20" name="Freihand 19">
                <a:extLst>
                  <a:ext uri="{FF2B5EF4-FFF2-40B4-BE49-F238E27FC236}">
                    <a16:creationId xmlns:a16="http://schemas.microsoft.com/office/drawing/2014/main" id="{D0FBF3EE-F779-108A-6B38-8293C5CAD90E}"/>
                  </a:ext>
                </a:extLst>
              </p:cNvPr>
              <p:cNvPicPr/>
              <p:nvPr/>
            </p:nvPicPr>
            <p:blipFill>
              <a:blip r:embed="rId17"/>
              <a:stretch>
                <a:fillRect/>
              </a:stretch>
            </p:blipFill>
            <p:spPr>
              <a:xfrm>
                <a:off x="2143936" y="2813062"/>
                <a:ext cx="72000" cy="312947"/>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Freihand 20">
                <a:extLst>
                  <a:ext uri="{FF2B5EF4-FFF2-40B4-BE49-F238E27FC236}">
                    <a16:creationId xmlns:a16="http://schemas.microsoft.com/office/drawing/2014/main" id="{A3092F20-C85B-5475-4F8F-1BF81CFA0794}"/>
                  </a:ext>
                </a:extLst>
              </p14:cNvPr>
              <p14:cNvContentPartPr/>
              <p14:nvPr/>
            </p14:nvContentPartPr>
            <p14:xfrm>
              <a:off x="2220976" y="2911036"/>
              <a:ext cx="13320" cy="330840"/>
            </p14:xfrm>
          </p:contentPart>
        </mc:Choice>
        <mc:Fallback xmlns="">
          <p:pic>
            <p:nvPicPr>
              <p:cNvPr id="21" name="Freihand 20">
                <a:extLst>
                  <a:ext uri="{FF2B5EF4-FFF2-40B4-BE49-F238E27FC236}">
                    <a16:creationId xmlns:a16="http://schemas.microsoft.com/office/drawing/2014/main" id="{A3092F20-C85B-5475-4F8F-1BF81CFA0794}"/>
                  </a:ext>
                </a:extLst>
              </p:cNvPr>
              <p:cNvPicPr/>
              <p:nvPr/>
            </p:nvPicPr>
            <p:blipFill>
              <a:blip r:embed="rId19"/>
              <a:stretch>
                <a:fillRect/>
              </a:stretch>
            </p:blipFill>
            <p:spPr>
              <a:xfrm>
                <a:off x="2202476" y="2875036"/>
                <a:ext cx="49950" cy="4024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7" name="Freihand 26">
                <a:extLst>
                  <a:ext uri="{FF2B5EF4-FFF2-40B4-BE49-F238E27FC236}">
                    <a16:creationId xmlns:a16="http://schemas.microsoft.com/office/drawing/2014/main" id="{1B40C769-64AB-6455-53B2-B632EDA2F695}"/>
                  </a:ext>
                </a:extLst>
              </p14:cNvPr>
              <p14:cNvContentPartPr/>
              <p14:nvPr/>
            </p14:nvContentPartPr>
            <p14:xfrm>
              <a:off x="2323216" y="2809156"/>
              <a:ext cx="29880" cy="523080"/>
            </p14:xfrm>
          </p:contentPart>
        </mc:Choice>
        <mc:Fallback xmlns="">
          <p:pic>
            <p:nvPicPr>
              <p:cNvPr id="27" name="Freihand 26">
                <a:extLst>
                  <a:ext uri="{FF2B5EF4-FFF2-40B4-BE49-F238E27FC236}">
                    <a16:creationId xmlns:a16="http://schemas.microsoft.com/office/drawing/2014/main" id="{1B40C769-64AB-6455-53B2-B632EDA2F695}"/>
                  </a:ext>
                </a:extLst>
              </p:cNvPr>
              <p:cNvPicPr/>
              <p:nvPr/>
            </p:nvPicPr>
            <p:blipFill>
              <a:blip r:embed="rId21"/>
              <a:stretch>
                <a:fillRect/>
              </a:stretch>
            </p:blipFill>
            <p:spPr>
              <a:xfrm>
                <a:off x="2305216" y="2773156"/>
                <a:ext cx="65520" cy="594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30" name="Freihand 29">
                <a:extLst>
                  <a:ext uri="{FF2B5EF4-FFF2-40B4-BE49-F238E27FC236}">
                    <a16:creationId xmlns:a16="http://schemas.microsoft.com/office/drawing/2014/main" id="{F9D83F2E-7BC6-B757-A52D-F768108C4096}"/>
                  </a:ext>
                </a:extLst>
              </p14:cNvPr>
              <p14:cNvContentPartPr/>
              <p14:nvPr/>
            </p14:nvContentPartPr>
            <p14:xfrm>
              <a:off x="2406376" y="2835436"/>
              <a:ext cx="720" cy="495720"/>
            </p14:xfrm>
          </p:contentPart>
        </mc:Choice>
        <mc:Fallback xmlns="">
          <p:pic>
            <p:nvPicPr>
              <p:cNvPr id="30" name="Freihand 29">
                <a:extLst>
                  <a:ext uri="{FF2B5EF4-FFF2-40B4-BE49-F238E27FC236}">
                    <a16:creationId xmlns:a16="http://schemas.microsoft.com/office/drawing/2014/main" id="{F9D83F2E-7BC6-B757-A52D-F768108C4096}"/>
                  </a:ext>
                </a:extLst>
              </p:cNvPr>
              <p:cNvPicPr/>
              <p:nvPr/>
            </p:nvPicPr>
            <p:blipFill>
              <a:blip r:embed="rId23"/>
              <a:stretch>
                <a:fillRect/>
              </a:stretch>
            </p:blipFill>
            <p:spPr>
              <a:xfrm>
                <a:off x="2370376" y="2799436"/>
                <a:ext cx="72000" cy="56736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31" name="Freihand 30">
                <a:extLst>
                  <a:ext uri="{FF2B5EF4-FFF2-40B4-BE49-F238E27FC236}">
                    <a16:creationId xmlns:a16="http://schemas.microsoft.com/office/drawing/2014/main" id="{3E4F18E4-E142-BC37-81F1-6236D57F5BD4}"/>
                  </a:ext>
                </a:extLst>
              </p14:cNvPr>
              <p14:cNvContentPartPr/>
              <p14:nvPr/>
            </p14:nvContentPartPr>
            <p14:xfrm>
              <a:off x="2273536" y="2810236"/>
              <a:ext cx="110160" cy="27360"/>
            </p14:xfrm>
          </p:contentPart>
        </mc:Choice>
        <mc:Fallback xmlns="">
          <p:pic>
            <p:nvPicPr>
              <p:cNvPr id="31" name="Freihand 30">
                <a:extLst>
                  <a:ext uri="{FF2B5EF4-FFF2-40B4-BE49-F238E27FC236}">
                    <a16:creationId xmlns:a16="http://schemas.microsoft.com/office/drawing/2014/main" id="{3E4F18E4-E142-BC37-81F1-6236D57F5BD4}"/>
                  </a:ext>
                </a:extLst>
              </p:cNvPr>
              <p:cNvPicPr/>
              <p:nvPr/>
            </p:nvPicPr>
            <p:blipFill>
              <a:blip r:embed="rId25"/>
              <a:stretch>
                <a:fillRect/>
              </a:stretch>
            </p:blipFill>
            <p:spPr>
              <a:xfrm>
                <a:off x="2255477" y="2774236"/>
                <a:ext cx="145917"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32" name="Freihand 31">
                <a:extLst>
                  <a:ext uri="{FF2B5EF4-FFF2-40B4-BE49-F238E27FC236}">
                    <a16:creationId xmlns:a16="http://schemas.microsoft.com/office/drawing/2014/main" id="{B073190A-9F33-CE81-43FE-BCD3F38ED2B4}"/>
                  </a:ext>
                </a:extLst>
              </p14:cNvPr>
              <p14:cNvContentPartPr/>
              <p14:nvPr/>
            </p14:nvContentPartPr>
            <p14:xfrm>
              <a:off x="2273536" y="2770636"/>
              <a:ext cx="67320" cy="69480"/>
            </p14:xfrm>
          </p:contentPart>
        </mc:Choice>
        <mc:Fallback xmlns="">
          <p:pic>
            <p:nvPicPr>
              <p:cNvPr id="32" name="Freihand 31">
                <a:extLst>
                  <a:ext uri="{FF2B5EF4-FFF2-40B4-BE49-F238E27FC236}">
                    <a16:creationId xmlns:a16="http://schemas.microsoft.com/office/drawing/2014/main" id="{B073190A-9F33-CE81-43FE-BCD3F38ED2B4}"/>
                  </a:ext>
                </a:extLst>
              </p:cNvPr>
              <p:cNvPicPr/>
              <p:nvPr/>
            </p:nvPicPr>
            <p:blipFill>
              <a:blip r:embed="rId27"/>
              <a:stretch>
                <a:fillRect/>
              </a:stretch>
            </p:blipFill>
            <p:spPr>
              <a:xfrm>
                <a:off x="2255536" y="2734636"/>
                <a:ext cx="102960" cy="14112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33" name="Freihand 32">
                <a:extLst>
                  <a:ext uri="{FF2B5EF4-FFF2-40B4-BE49-F238E27FC236}">
                    <a16:creationId xmlns:a16="http://schemas.microsoft.com/office/drawing/2014/main" id="{1BFA6D3B-8294-A047-6BA7-266D97EBDA51}"/>
                  </a:ext>
                </a:extLst>
              </p14:cNvPr>
              <p14:cNvContentPartPr/>
              <p14:nvPr/>
            </p14:nvContentPartPr>
            <p14:xfrm>
              <a:off x="2272096" y="2760556"/>
              <a:ext cx="69840" cy="63360"/>
            </p14:xfrm>
          </p:contentPart>
        </mc:Choice>
        <mc:Fallback xmlns="">
          <p:pic>
            <p:nvPicPr>
              <p:cNvPr id="33" name="Freihand 32">
                <a:extLst>
                  <a:ext uri="{FF2B5EF4-FFF2-40B4-BE49-F238E27FC236}">
                    <a16:creationId xmlns:a16="http://schemas.microsoft.com/office/drawing/2014/main" id="{1BFA6D3B-8294-A047-6BA7-266D97EBDA51}"/>
                  </a:ext>
                </a:extLst>
              </p:cNvPr>
              <p:cNvPicPr/>
              <p:nvPr/>
            </p:nvPicPr>
            <p:blipFill>
              <a:blip r:embed="rId29"/>
              <a:stretch>
                <a:fillRect/>
              </a:stretch>
            </p:blipFill>
            <p:spPr>
              <a:xfrm>
                <a:off x="2254096" y="2724556"/>
                <a:ext cx="105480" cy="1350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6" name="Freihand 35">
                <a:extLst>
                  <a:ext uri="{FF2B5EF4-FFF2-40B4-BE49-F238E27FC236}">
                    <a16:creationId xmlns:a16="http://schemas.microsoft.com/office/drawing/2014/main" id="{F54A1072-9973-B8FD-666C-A86DCFC32437}"/>
                  </a:ext>
                </a:extLst>
              </p14:cNvPr>
              <p14:cNvContentPartPr/>
              <p14:nvPr/>
            </p14:nvContentPartPr>
            <p14:xfrm>
              <a:off x="2281456" y="2787196"/>
              <a:ext cx="11880" cy="60840"/>
            </p14:xfrm>
          </p:contentPart>
        </mc:Choice>
        <mc:Fallback xmlns="">
          <p:pic>
            <p:nvPicPr>
              <p:cNvPr id="36" name="Freihand 35">
                <a:extLst>
                  <a:ext uri="{FF2B5EF4-FFF2-40B4-BE49-F238E27FC236}">
                    <a16:creationId xmlns:a16="http://schemas.microsoft.com/office/drawing/2014/main" id="{F54A1072-9973-B8FD-666C-A86DCFC32437}"/>
                  </a:ext>
                </a:extLst>
              </p:cNvPr>
              <p:cNvPicPr/>
              <p:nvPr/>
            </p:nvPicPr>
            <p:blipFill>
              <a:blip r:embed="rId31"/>
              <a:stretch>
                <a:fillRect/>
              </a:stretch>
            </p:blipFill>
            <p:spPr>
              <a:xfrm>
                <a:off x="2262893" y="2751408"/>
                <a:ext cx="48634" cy="132059"/>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37" name="Freihand 36">
                <a:extLst>
                  <a:ext uri="{FF2B5EF4-FFF2-40B4-BE49-F238E27FC236}">
                    <a16:creationId xmlns:a16="http://schemas.microsoft.com/office/drawing/2014/main" id="{F4E0189C-73B4-3875-92E4-72BF3301CC29}"/>
                  </a:ext>
                </a:extLst>
              </p14:cNvPr>
              <p14:cNvContentPartPr/>
              <p14:nvPr/>
            </p14:nvContentPartPr>
            <p14:xfrm>
              <a:off x="2339776" y="2927956"/>
              <a:ext cx="16920" cy="407520"/>
            </p14:xfrm>
          </p:contentPart>
        </mc:Choice>
        <mc:Fallback xmlns="">
          <p:pic>
            <p:nvPicPr>
              <p:cNvPr id="37" name="Freihand 36">
                <a:extLst>
                  <a:ext uri="{FF2B5EF4-FFF2-40B4-BE49-F238E27FC236}">
                    <a16:creationId xmlns:a16="http://schemas.microsoft.com/office/drawing/2014/main" id="{F4E0189C-73B4-3875-92E4-72BF3301CC29}"/>
                  </a:ext>
                </a:extLst>
              </p:cNvPr>
              <p:cNvPicPr/>
              <p:nvPr/>
            </p:nvPicPr>
            <p:blipFill>
              <a:blip r:embed="rId33"/>
              <a:stretch>
                <a:fillRect/>
              </a:stretch>
            </p:blipFill>
            <p:spPr>
              <a:xfrm>
                <a:off x="2321776" y="2891988"/>
                <a:ext cx="52560" cy="479097"/>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38" name="Freihand 37">
                <a:extLst>
                  <a:ext uri="{FF2B5EF4-FFF2-40B4-BE49-F238E27FC236}">
                    <a16:creationId xmlns:a16="http://schemas.microsoft.com/office/drawing/2014/main" id="{3CB35B58-3752-1337-49C6-7A08FC587661}"/>
                  </a:ext>
                </a:extLst>
              </p14:cNvPr>
              <p14:cNvContentPartPr/>
              <p14:nvPr/>
            </p14:nvContentPartPr>
            <p14:xfrm>
              <a:off x="2360296" y="2911036"/>
              <a:ext cx="1080" cy="207360"/>
            </p14:xfrm>
          </p:contentPart>
        </mc:Choice>
        <mc:Fallback xmlns="">
          <p:pic>
            <p:nvPicPr>
              <p:cNvPr id="38" name="Freihand 37">
                <a:extLst>
                  <a:ext uri="{FF2B5EF4-FFF2-40B4-BE49-F238E27FC236}">
                    <a16:creationId xmlns:a16="http://schemas.microsoft.com/office/drawing/2014/main" id="{3CB35B58-3752-1337-49C6-7A08FC587661}"/>
                  </a:ext>
                </a:extLst>
              </p:cNvPr>
              <p:cNvPicPr/>
              <p:nvPr/>
            </p:nvPicPr>
            <p:blipFill>
              <a:blip r:embed="rId35"/>
              <a:stretch>
                <a:fillRect/>
              </a:stretch>
            </p:blipFill>
            <p:spPr>
              <a:xfrm>
                <a:off x="2342296" y="2875036"/>
                <a:ext cx="36720" cy="27900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15" name="Freihand 14">
                <a:extLst>
                  <a:ext uri="{FF2B5EF4-FFF2-40B4-BE49-F238E27FC236}">
                    <a16:creationId xmlns:a16="http://schemas.microsoft.com/office/drawing/2014/main" id="{A9D32F33-03F7-A21C-32BB-C1104F4D989B}"/>
                  </a:ext>
                </a:extLst>
              </p14:cNvPr>
              <p14:cNvContentPartPr/>
              <p14:nvPr/>
            </p14:nvContentPartPr>
            <p14:xfrm>
              <a:off x="2197936" y="2854876"/>
              <a:ext cx="201240" cy="450360"/>
            </p14:xfrm>
          </p:contentPart>
        </mc:Choice>
        <mc:Fallback xmlns="">
          <p:pic>
            <p:nvPicPr>
              <p:cNvPr id="15" name="Freihand 14">
                <a:extLst>
                  <a:ext uri="{FF2B5EF4-FFF2-40B4-BE49-F238E27FC236}">
                    <a16:creationId xmlns:a16="http://schemas.microsoft.com/office/drawing/2014/main" id="{A9D32F33-03F7-A21C-32BB-C1104F4D989B}"/>
                  </a:ext>
                </a:extLst>
              </p:cNvPr>
              <p:cNvPicPr/>
              <p:nvPr/>
            </p:nvPicPr>
            <p:blipFill>
              <a:blip r:embed="rId37"/>
              <a:stretch>
                <a:fillRect/>
              </a:stretch>
            </p:blipFill>
            <p:spPr>
              <a:xfrm>
                <a:off x="2179936" y="2818876"/>
                <a:ext cx="236880" cy="522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29" name="Freihand 28">
                <a:extLst>
                  <a:ext uri="{FF2B5EF4-FFF2-40B4-BE49-F238E27FC236}">
                    <a16:creationId xmlns:a16="http://schemas.microsoft.com/office/drawing/2014/main" id="{5D54EFB8-2006-06AE-F9B9-9BA6CA5B533F}"/>
                  </a:ext>
                </a:extLst>
              </p14:cNvPr>
              <p14:cNvContentPartPr/>
              <p14:nvPr/>
            </p14:nvContentPartPr>
            <p14:xfrm>
              <a:off x="2183896" y="3229996"/>
              <a:ext cx="208800" cy="124920"/>
            </p14:xfrm>
          </p:contentPart>
        </mc:Choice>
        <mc:Fallback xmlns="">
          <p:pic>
            <p:nvPicPr>
              <p:cNvPr id="29" name="Freihand 28">
                <a:extLst>
                  <a:ext uri="{FF2B5EF4-FFF2-40B4-BE49-F238E27FC236}">
                    <a16:creationId xmlns:a16="http://schemas.microsoft.com/office/drawing/2014/main" id="{5D54EFB8-2006-06AE-F9B9-9BA6CA5B533F}"/>
                  </a:ext>
                </a:extLst>
              </p:cNvPr>
              <p:cNvPicPr/>
              <p:nvPr/>
            </p:nvPicPr>
            <p:blipFill>
              <a:blip r:embed="rId39"/>
              <a:stretch>
                <a:fillRect/>
              </a:stretch>
            </p:blipFill>
            <p:spPr>
              <a:xfrm>
                <a:off x="2165896" y="3193996"/>
                <a:ext cx="244440" cy="19656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34" name="Freihand 33">
                <a:extLst>
                  <a:ext uri="{FF2B5EF4-FFF2-40B4-BE49-F238E27FC236}">
                    <a16:creationId xmlns:a16="http://schemas.microsoft.com/office/drawing/2014/main" id="{DFB6EC5F-1E89-B086-7C61-7D0CE04A6A55}"/>
                  </a:ext>
                </a:extLst>
              </p14:cNvPr>
              <p14:cNvContentPartPr/>
              <p14:nvPr/>
            </p14:nvContentPartPr>
            <p14:xfrm>
              <a:off x="2178136" y="3154396"/>
              <a:ext cx="211320" cy="198000"/>
            </p14:xfrm>
          </p:contentPart>
        </mc:Choice>
        <mc:Fallback xmlns="">
          <p:pic>
            <p:nvPicPr>
              <p:cNvPr id="34" name="Freihand 33">
                <a:extLst>
                  <a:ext uri="{FF2B5EF4-FFF2-40B4-BE49-F238E27FC236}">
                    <a16:creationId xmlns:a16="http://schemas.microsoft.com/office/drawing/2014/main" id="{DFB6EC5F-1E89-B086-7C61-7D0CE04A6A55}"/>
                  </a:ext>
                </a:extLst>
              </p:cNvPr>
              <p:cNvPicPr/>
              <p:nvPr/>
            </p:nvPicPr>
            <p:blipFill>
              <a:blip r:embed="rId41"/>
              <a:stretch>
                <a:fillRect/>
              </a:stretch>
            </p:blipFill>
            <p:spPr>
              <a:xfrm>
                <a:off x="2160105" y="3118396"/>
                <a:ext cx="247021" cy="26964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35" name="Freihand 34">
                <a:extLst>
                  <a:ext uri="{FF2B5EF4-FFF2-40B4-BE49-F238E27FC236}">
                    <a16:creationId xmlns:a16="http://schemas.microsoft.com/office/drawing/2014/main" id="{D10D711F-C68E-4B9E-1D18-9E0ACA8E6824}"/>
                  </a:ext>
                </a:extLst>
              </p14:cNvPr>
              <p14:cNvContentPartPr/>
              <p14:nvPr/>
            </p14:nvContentPartPr>
            <p14:xfrm>
              <a:off x="2284336" y="3275356"/>
              <a:ext cx="120960" cy="80280"/>
            </p14:xfrm>
          </p:contentPart>
        </mc:Choice>
        <mc:Fallback xmlns="">
          <p:pic>
            <p:nvPicPr>
              <p:cNvPr id="35" name="Freihand 34">
                <a:extLst>
                  <a:ext uri="{FF2B5EF4-FFF2-40B4-BE49-F238E27FC236}">
                    <a16:creationId xmlns:a16="http://schemas.microsoft.com/office/drawing/2014/main" id="{D10D711F-C68E-4B9E-1D18-9E0ACA8E6824}"/>
                  </a:ext>
                </a:extLst>
              </p:cNvPr>
              <p:cNvPicPr/>
              <p:nvPr/>
            </p:nvPicPr>
            <p:blipFill>
              <a:blip r:embed="rId43"/>
              <a:stretch>
                <a:fillRect/>
              </a:stretch>
            </p:blipFill>
            <p:spPr>
              <a:xfrm>
                <a:off x="2266336" y="3239356"/>
                <a:ext cx="156600" cy="15192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39" name="Freihand 38">
                <a:extLst>
                  <a:ext uri="{FF2B5EF4-FFF2-40B4-BE49-F238E27FC236}">
                    <a16:creationId xmlns:a16="http://schemas.microsoft.com/office/drawing/2014/main" id="{02A5C370-C086-7EE4-FEE9-E98D1458ED0E}"/>
                  </a:ext>
                </a:extLst>
              </p14:cNvPr>
              <p14:cNvContentPartPr/>
              <p14:nvPr/>
            </p14:nvContentPartPr>
            <p14:xfrm>
              <a:off x="2182096" y="3273556"/>
              <a:ext cx="36360" cy="1080"/>
            </p14:xfrm>
          </p:contentPart>
        </mc:Choice>
        <mc:Fallback xmlns="">
          <p:pic>
            <p:nvPicPr>
              <p:cNvPr id="39" name="Freihand 38">
                <a:extLst>
                  <a:ext uri="{FF2B5EF4-FFF2-40B4-BE49-F238E27FC236}">
                    <a16:creationId xmlns:a16="http://schemas.microsoft.com/office/drawing/2014/main" id="{02A5C370-C086-7EE4-FEE9-E98D1458ED0E}"/>
                  </a:ext>
                </a:extLst>
              </p:cNvPr>
              <p:cNvPicPr/>
              <p:nvPr/>
            </p:nvPicPr>
            <p:blipFill>
              <a:blip r:embed="rId45"/>
              <a:stretch>
                <a:fillRect/>
              </a:stretch>
            </p:blipFill>
            <p:spPr>
              <a:xfrm>
                <a:off x="2164096" y="3237556"/>
                <a:ext cx="7200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41" name="Freihand 40">
                <a:extLst>
                  <a:ext uri="{FF2B5EF4-FFF2-40B4-BE49-F238E27FC236}">
                    <a16:creationId xmlns:a16="http://schemas.microsoft.com/office/drawing/2014/main" id="{DDC2DFFC-B324-EE40-9622-B8D86E50E311}"/>
                  </a:ext>
                </a:extLst>
              </p14:cNvPr>
              <p14:cNvContentPartPr/>
              <p14:nvPr/>
            </p14:nvContentPartPr>
            <p14:xfrm>
              <a:off x="4728266" y="2634301"/>
              <a:ext cx="236160" cy="208800"/>
            </p14:xfrm>
          </p:contentPart>
        </mc:Choice>
        <mc:Fallback xmlns="">
          <p:pic>
            <p:nvPicPr>
              <p:cNvPr id="41" name="Freihand 40">
                <a:extLst>
                  <a:ext uri="{FF2B5EF4-FFF2-40B4-BE49-F238E27FC236}">
                    <a16:creationId xmlns:a16="http://schemas.microsoft.com/office/drawing/2014/main" id="{DDC2DFFC-B324-EE40-9622-B8D86E50E311}"/>
                  </a:ext>
                </a:extLst>
              </p:cNvPr>
              <p:cNvPicPr/>
              <p:nvPr/>
            </p:nvPicPr>
            <p:blipFill>
              <a:blip r:embed="rId47"/>
              <a:stretch>
                <a:fillRect/>
              </a:stretch>
            </p:blipFill>
            <p:spPr>
              <a:xfrm>
                <a:off x="4722146" y="2628181"/>
                <a:ext cx="248400" cy="221040"/>
              </a:xfrm>
              <a:prstGeom prst="rect">
                <a:avLst/>
              </a:prstGeom>
            </p:spPr>
          </p:pic>
        </mc:Fallback>
      </mc:AlternateContent>
      <p:cxnSp>
        <p:nvCxnSpPr>
          <p:cNvPr id="47" name="Gerader Verbinder 46">
            <a:extLst>
              <a:ext uri="{FF2B5EF4-FFF2-40B4-BE49-F238E27FC236}">
                <a16:creationId xmlns:a16="http://schemas.microsoft.com/office/drawing/2014/main" id="{788DEC20-6336-01E7-9D2E-7B514AB9C91F}"/>
              </a:ext>
            </a:extLst>
          </p:cNvPr>
          <p:cNvCxnSpPr/>
          <p:nvPr/>
        </p:nvCxnSpPr>
        <p:spPr>
          <a:xfrm>
            <a:off x="4740276" y="3345721"/>
            <a:ext cx="0" cy="71672"/>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8452DBF5-AEF2-1A03-D21A-266308287900}"/>
              </a:ext>
            </a:extLst>
          </p:cNvPr>
          <p:cNvCxnSpPr/>
          <p:nvPr/>
        </p:nvCxnSpPr>
        <p:spPr>
          <a:xfrm>
            <a:off x="4978885" y="3345721"/>
            <a:ext cx="0" cy="71672"/>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D3E0BD49-A7EB-EA2F-EEDC-081CA8E722F1}"/>
              </a:ext>
            </a:extLst>
          </p:cNvPr>
          <p:cNvCxnSpPr/>
          <p:nvPr/>
        </p:nvCxnSpPr>
        <p:spPr>
          <a:xfrm>
            <a:off x="2136163" y="3349169"/>
            <a:ext cx="0" cy="71672"/>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777BB336-069D-D451-F463-3693576D67BC}"/>
              </a:ext>
            </a:extLst>
          </p:cNvPr>
          <p:cNvCxnSpPr/>
          <p:nvPr/>
        </p:nvCxnSpPr>
        <p:spPr>
          <a:xfrm>
            <a:off x="2518708" y="3352396"/>
            <a:ext cx="0" cy="71672"/>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54" name="Gerade Verbindung mit Pfeil 53">
            <a:extLst>
              <a:ext uri="{FF2B5EF4-FFF2-40B4-BE49-F238E27FC236}">
                <a16:creationId xmlns:a16="http://schemas.microsoft.com/office/drawing/2014/main" id="{690A6023-5C9E-DD3A-4B11-CBF61635B717}"/>
              </a:ext>
            </a:extLst>
          </p:cNvPr>
          <p:cNvCxnSpPr/>
          <p:nvPr/>
        </p:nvCxnSpPr>
        <p:spPr>
          <a:xfrm>
            <a:off x="3301620" y="5488093"/>
            <a:ext cx="2101867" cy="0"/>
          </a:xfrm>
          <a:prstGeom prst="straightConnector1">
            <a:avLst/>
          </a:prstGeom>
          <a:ln w="9525" cap="rnd">
            <a:solidFill>
              <a:srgbClr val="002456"/>
            </a:solidFill>
            <a:tailEnd type="triangle"/>
          </a:ln>
        </p:spPr>
        <p:style>
          <a:lnRef idx="1">
            <a:schemeClr val="accent1"/>
          </a:lnRef>
          <a:fillRef idx="0">
            <a:schemeClr val="accent1"/>
          </a:fillRef>
          <a:effectRef idx="0">
            <a:schemeClr val="accent1"/>
          </a:effectRef>
          <a:fontRef idx="minor">
            <a:schemeClr val="tx1"/>
          </a:fontRef>
        </p:style>
      </p:cxnSp>
      <p:cxnSp>
        <p:nvCxnSpPr>
          <p:cNvPr id="55" name="Gerade Verbindung mit Pfeil 54">
            <a:extLst>
              <a:ext uri="{FF2B5EF4-FFF2-40B4-BE49-F238E27FC236}">
                <a16:creationId xmlns:a16="http://schemas.microsoft.com/office/drawing/2014/main" id="{DFA63B46-307F-848C-59F4-D77210A29FA0}"/>
              </a:ext>
            </a:extLst>
          </p:cNvPr>
          <p:cNvCxnSpPr>
            <a:cxnSpLocks/>
          </p:cNvCxnSpPr>
          <p:nvPr/>
        </p:nvCxnSpPr>
        <p:spPr>
          <a:xfrm flipH="1" flipV="1">
            <a:off x="3301620" y="4529357"/>
            <a:ext cx="6868" cy="964835"/>
          </a:xfrm>
          <a:prstGeom prst="straightConnector1">
            <a:avLst/>
          </a:prstGeom>
          <a:ln w="9525" cap="rnd">
            <a:solidFill>
              <a:srgbClr val="002456"/>
            </a:solidFill>
            <a:tailEnd type="triangle"/>
          </a:ln>
        </p:spPr>
        <p:style>
          <a:lnRef idx="1">
            <a:schemeClr val="accent1"/>
          </a:lnRef>
          <a:fillRef idx="0">
            <a:schemeClr val="accent1"/>
          </a:fillRef>
          <a:effectRef idx="0">
            <a:schemeClr val="accent1"/>
          </a:effectRef>
          <a:fontRef idx="minor">
            <a:schemeClr val="tx1"/>
          </a:fontRef>
        </p:style>
      </p:cxnSp>
      <p:cxnSp>
        <p:nvCxnSpPr>
          <p:cNvPr id="57" name="Gerade Verbindung mit Pfeil 56">
            <a:extLst>
              <a:ext uri="{FF2B5EF4-FFF2-40B4-BE49-F238E27FC236}">
                <a16:creationId xmlns:a16="http://schemas.microsoft.com/office/drawing/2014/main" id="{1C7C2297-C581-DD85-3D9B-D07D5222FFE8}"/>
              </a:ext>
            </a:extLst>
          </p:cNvPr>
          <p:cNvCxnSpPr/>
          <p:nvPr/>
        </p:nvCxnSpPr>
        <p:spPr>
          <a:xfrm>
            <a:off x="717167" y="5485851"/>
            <a:ext cx="2101867" cy="0"/>
          </a:xfrm>
          <a:prstGeom prst="straightConnector1">
            <a:avLst/>
          </a:prstGeom>
          <a:ln w="9525" cap="rnd">
            <a:solidFill>
              <a:srgbClr val="002456"/>
            </a:solidFill>
            <a:tailEnd type="triangle"/>
          </a:ln>
        </p:spPr>
        <p:style>
          <a:lnRef idx="1">
            <a:schemeClr val="accent1"/>
          </a:lnRef>
          <a:fillRef idx="0">
            <a:schemeClr val="accent1"/>
          </a:fillRef>
          <a:effectRef idx="0">
            <a:schemeClr val="accent1"/>
          </a:effectRef>
          <a:fontRef idx="minor">
            <a:schemeClr val="tx1"/>
          </a:fontRef>
        </p:style>
      </p:cxnSp>
      <p:cxnSp>
        <p:nvCxnSpPr>
          <p:cNvPr id="58" name="Gerade Verbindung mit Pfeil 57">
            <a:extLst>
              <a:ext uri="{FF2B5EF4-FFF2-40B4-BE49-F238E27FC236}">
                <a16:creationId xmlns:a16="http://schemas.microsoft.com/office/drawing/2014/main" id="{A4FF4903-2C4E-FEDB-DD2E-58FC99EC7DB9}"/>
              </a:ext>
            </a:extLst>
          </p:cNvPr>
          <p:cNvCxnSpPr>
            <a:cxnSpLocks/>
          </p:cNvCxnSpPr>
          <p:nvPr/>
        </p:nvCxnSpPr>
        <p:spPr>
          <a:xfrm flipH="1" flipV="1">
            <a:off x="717167" y="4527115"/>
            <a:ext cx="6868" cy="964835"/>
          </a:xfrm>
          <a:prstGeom prst="straightConnector1">
            <a:avLst/>
          </a:prstGeom>
          <a:ln w="9525" cap="rnd">
            <a:solidFill>
              <a:srgbClr val="002456"/>
            </a:solidFill>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F1235543-5FD0-6CE2-8692-F0531E61C948}"/>
              </a:ext>
            </a:extLst>
          </p:cNvPr>
          <p:cNvCxnSpPr/>
          <p:nvPr/>
        </p:nvCxnSpPr>
        <p:spPr>
          <a:xfrm>
            <a:off x="4758806" y="5442460"/>
            <a:ext cx="0" cy="71672"/>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063F4EAE-ADF3-70B8-13BC-FE77D8B27ED7}"/>
              </a:ext>
            </a:extLst>
          </p:cNvPr>
          <p:cNvCxnSpPr/>
          <p:nvPr/>
        </p:nvCxnSpPr>
        <p:spPr>
          <a:xfrm>
            <a:off x="5014334" y="5445687"/>
            <a:ext cx="0" cy="71672"/>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48">
            <p14:nvContentPartPr>
              <p14:cNvPr id="84" name="Freihand 83">
                <a:extLst>
                  <a:ext uri="{FF2B5EF4-FFF2-40B4-BE49-F238E27FC236}">
                    <a16:creationId xmlns:a16="http://schemas.microsoft.com/office/drawing/2014/main" id="{A7024643-A626-D4DD-8F04-DA8DC46CDA16}"/>
                  </a:ext>
                </a:extLst>
              </p14:cNvPr>
              <p14:cNvContentPartPr/>
              <p14:nvPr/>
            </p14:nvContentPartPr>
            <p14:xfrm>
              <a:off x="3326014" y="4659404"/>
              <a:ext cx="2012760" cy="659520"/>
            </p14:xfrm>
          </p:contentPart>
        </mc:Choice>
        <mc:Fallback xmlns="">
          <p:pic>
            <p:nvPicPr>
              <p:cNvPr id="84" name="Freihand 83">
                <a:extLst>
                  <a:ext uri="{FF2B5EF4-FFF2-40B4-BE49-F238E27FC236}">
                    <a16:creationId xmlns:a16="http://schemas.microsoft.com/office/drawing/2014/main" id="{A7024643-A626-D4DD-8F04-DA8DC46CDA16}"/>
                  </a:ext>
                </a:extLst>
              </p:cNvPr>
              <p:cNvPicPr/>
              <p:nvPr/>
            </p:nvPicPr>
            <p:blipFill>
              <a:blip r:embed="rId6"/>
              <a:stretch>
                <a:fillRect/>
              </a:stretch>
            </p:blipFill>
            <p:spPr>
              <a:xfrm>
                <a:off x="3319894" y="4653284"/>
                <a:ext cx="2025000" cy="67176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5" name="Freihand 84">
                <a:extLst>
                  <a:ext uri="{FF2B5EF4-FFF2-40B4-BE49-F238E27FC236}">
                    <a16:creationId xmlns:a16="http://schemas.microsoft.com/office/drawing/2014/main" id="{921EA5A7-07E7-73E1-E6AD-051B7002876D}"/>
                  </a:ext>
                </a:extLst>
              </p14:cNvPr>
              <p14:cNvContentPartPr/>
              <p14:nvPr/>
            </p14:nvContentPartPr>
            <p14:xfrm>
              <a:off x="5380618" y="4585882"/>
              <a:ext cx="360" cy="360"/>
            </p14:xfrm>
          </p:contentPart>
        </mc:Choice>
        <mc:Fallback xmlns="">
          <p:pic>
            <p:nvPicPr>
              <p:cNvPr id="85" name="Freihand 84">
                <a:extLst>
                  <a:ext uri="{FF2B5EF4-FFF2-40B4-BE49-F238E27FC236}">
                    <a16:creationId xmlns:a16="http://schemas.microsoft.com/office/drawing/2014/main" id="{921EA5A7-07E7-73E1-E6AD-051B7002876D}"/>
                  </a:ext>
                </a:extLst>
              </p:cNvPr>
              <p:cNvPicPr/>
              <p:nvPr/>
            </p:nvPicPr>
            <p:blipFill>
              <a:blip r:embed="rId50"/>
              <a:stretch>
                <a:fillRect/>
              </a:stretch>
            </p:blipFill>
            <p:spPr>
              <a:xfrm>
                <a:off x="5374498" y="4579762"/>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8" name="Freihand 87">
                <a:extLst>
                  <a:ext uri="{FF2B5EF4-FFF2-40B4-BE49-F238E27FC236}">
                    <a16:creationId xmlns:a16="http://schemas.microsoft.com/office/drawing/2014/main" id="{B777F136-59AE-E53F-9347-963DEF95156E}"/>
                  </a:ext>
                </a:extLst>
              </p14:cNvPr>
              <p14:cNvContentPartPr/>
              <p14:nvPr/>
            </p14:nvContentPartPr>
            <p14:xfrm>
              <a:off x="4751698" y="4755562"/>
              <a:ext cx="169920" cy="157680"/>
            </p14:xfrm>
          </p:contentPart>
        </mc:Choice>
        <mc:Fallback xmlns="">
          <p:pic>
            <p:nvPicPr>
              <p:cNvPr id="88" name="Freihand 87">
                <a:extLst>
                  <a:ext uri="{FF2B5EF4-FFF2-40B4-BE49-F238E27FC236}">
                    <a16:creationId xmlns:a16="http://schemas.microsoft.com/office/drawing/2014/main" id="{B777F136-59AE-E53F-9347-963DEF95156E}"/>
                  </a:ext>
                </a:extLst>
              </p:cNvPr>
              <p:cNvPicPr/>
              <p:nvPr/>
            </p:nvPicPr>
            <p:blipFill>
              <a:blip r:embed="rId52"/>
              <a:stretch>
                <a:fillRect/>
              </a:stretch>
            </p:blipFill>
            <p:spPr>
              <a:xfrm>
                <a:off x="4745565" y="4749428"/>
                <a:ext cx="182186" cy="169948"/>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9" name="Freihand 88">
                <a:extLst>
                  <a:ext uri="{FF2B5EF4-FFF2-40B4-BE49-F238E27FC236}">
                    <a16:creationId xmlns:a16="http://schemas.microsoft.com/office/drawing/2014/main" id="{11AA8E5F-17B5-A920-075D-70CBDC4CCE7C}"/>
                  </a:ext>
                </a:extLst>
              </p14:cNvPr>
              <p14:cNvContentPartPr/>
              <p14:nvPr/>
            </p14:nvContentPartPr>
            <p14:xfrm>
              <a:off x="4354258" y="4553602"/>
              <a:ext cx="360" cy="360"/>
            </p14:xfrm>
          </p:contentPart>
        </mc:Choice>
        <mc:Fallback xmlns="">
          <p:pic>
            <p:nvPicPr>
              <p:cNvPr id="89" name="Freihand 88">
                <a:extLst>
                  <a:ext uri="{FF2B5EF4-FFF2-40B4-BE49-F238E27FC236}">
                    <a16:creationId xmlns:a16="http://schemas.microsoft.com/office/drawing/2014/main" id="{11AA8E5F-17B5-A920-075D-70CBDC4CCE7C}"/>
                  </a:ext>
                </a:extLst>
              </p:cNvPr>
              <p:cNvPicPr/>
              <p:nvPr/>
            </p:nvPicPr>
            <p:blipFill>
              <a:blip r:embed="rId54"/>
              <a:stretch>
                <a:fillRect/>
              </a:stretch>
            </p:blipFill>
            <p:spPr>
              <a:xfrm>
                <a:off x="4348138" y="4547482"/>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90" name="Freihand 89">
                <a:extLst>
                  <a:ext uri="{FF2B5EF4-FFF2-40B4-BE49-F238E27FC236}">
                    <a16:creationId xmlns:a16="http://schemas.microsoft.com/office/drawing/2014/main" id="{1B746F5F-50C5-B84F-E666-1F4C43440165}"/>
                  </a:ext>
                </a:extLst>
              </p14:cNvPr>
              <p14:cNvContentPartPr/>
              <p14:nvPr/>
            </p14:nvContentPartPr>
            <p14:xfrm>
              <a:off x="5344618" y="4547362"/>
              <a:ext cx="71280" cy="67680"/>
            </p14:xfrm>
          </p:contentPart>
        </mc:Choice>
        <mc:Fallback xmlns="">
          <p:pic>
            <p:nvPicPr>
              <p:cNvPr id="90" name="Freihand 89">
                <a:extLst>
                  <a:ext uri="{FF2B5EF4-FFF2-40B4-BE49-F238E27FC236}">
                    <a16:creationId xmlns:a16="http://schemas.microsoft.com/office/drawing/2014/main" id="{1B746F5F-50C5-B84F-E666-1F4C43440165}"/>
                  </a:ext>
                </a:extLst>
              </p:cNvPr>
              <p:cNvPicPr/>
              <p:nvPr/>
            </p:nvPicPr>
            <p:blipFill>
              <a:blip r:embed="rId56"/>
              <a:stretch>
                <a:fillRect/>
              </a:stretch>
            </p:blipFill>
            <p:spPr>
              <a:xfrm>
                <a:off x="5338498" y="4541209"/>
                <a:ext cx="83520" cy="79985"/>
              </a:xfrm>
              <a:prstGeom prst="rect">
                <a:avLst/>
              </a:prstGeom>
            </p:spPr>
          </p:pic>
        </mc:Fallback>
      </mc:AlternateContent>
      <p:grpSp>
        <p:nvGrpSpPr>
          <p:cNvPr id="102" name="Gruppieren 101">
            <a:extLst>
              <a:ext uri="{FF2B5EF4-FFF2-40B4-BE49-F238E27FC236}">
                <a16:creationId xmlns:a16="http://schemas.microsoft.com/office/drawing/2014/main" id="{1CC14360-982E-8F3B-3556-596767D29CD1}"/>
              </a:ext>
            </a:extLst>
          </p:cNvPr>
          <p:cNvGrpSpPr/>
          <p:nvPr/>
        </p:nvGrpSpPr>
        <p:grpSpPr>
          <a:xfrm>
            <a:off x="4672858" y="4503202"/>
            <a:ext cx="712440" cy="442440"/>
            <a:chOff x="2207900" y="4497139"/>
            <a:chExt cx="712440" cy="442440"/>
          </a:xfrm>
        </p:grpSpPr>
        <mc:AlternateContent xmlns:mc="http://schemas.openxmlformats.org/markup-compatibility/2006" xmlns:p14="http://schemas.microsoft.com/office/powerpoint/2010/main">
          <mc:Choice Requires="p14">
            <p:contentPart p14:bwMode="auto" r:id="rId57">
              <p14:nvContentPartPr>
                <p14:cNvPr id="91" name="Freihand 90">
                  <a:extLst>
                    <a:ext uri="{FF2B5EF4-FFF2-40B4-BE49-F238E27FC236}">
                      <a16:creationId xmlns:a16="http://schemas.microsoft.com/office/drawing/2014/main" id="{128F1B79-5104-3A13-FCED-405CA6808999}"/>
                    </a:ext>
                  </a:extLst>
                </p14:cNvPr>
                <p14:cNvContentPartPr/>
                <p14:nvPr/>
              </p14:nvContentPartPr>
              <p14:xfrm>
                <a:off x="2207900" y="4572379"/>
                <a:ext cx="217080" cy="304560"/>
              </p14:xfrm>
            </p:contentPart>
          </mc:Choice>
          <mc:Fallback xmlns="">
            <p:pic>
              <p:nvPicPr>
                <p:cNvPr id="91" name="Freihand 90">
                  <a:extLst>
                    <a:ext uri="{FF2B5EF4-FFF2-40B4-BE49-F238E27FC236}">
                      <a16:creationId xmlns:a16="http://schemas.microsoft.com/office/drawing/2014/main" id="{128F1B79-5104-3A13-FCED-405CA6808999}"/>
                    </a:ext>
                  </a:extLst>
                </p:cNvPr>
                <p:cNvPicPr/>
                <p:nvPr/>
              </p:nvPicPr>
              <p:blipFill>
                <a:blip r:embed="rId58"/>
                <a:stretch>
                  <a:fillRect/>
                </a:stretch>
              </p:blipFill>
              <p:spPr>
                <a:xfrm>
                  <a:off x="2201790" y="4566252"/>
                  <a:ext cx="229300" cy="316814"/>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92" name="Freihand 91">
                  <a:extLst>
                    <a:ext uri="{FF2B5EF4-FFF2-40B4-BE49-F238E27FC236}">
                      <a16:creationId xmlns:a16="http://schemas.microsoft.com/office/drawing/2014/main" id="{A289191B-3207-A48B-175B-E5C2425FE197}"/>
                    </a:ext>
                  </a:extLst>
                </p14:cNvPr>
                <p14:cNvContentPartPr/>
                <p14:nvPr/>
              </p14:nvContentPartPr>
              <p14:xfrm>
                <a:off x="2377460" y="4644739"/>
                <a:ext cx="75240" cy="139680"/>
              </p14:xfrm>
            </p:contentPart>
          </mc:Choice>
          <mc:Fallback xmlns="">
            <p:pic>
              <p:nvPicPr>
                <p:cNvPr id="92" name="Freihand 91">
                  <a:extLst>
                    <a:ext uri="{FF2B5EF4-FFF2-40B4-BE49-F238E27FC236}">
                      <a16:creationId xmlns:a16="http://schemas.microsoft.com/office/drawing/2014/main" id="{A289191B-3207-A48B-175B-E5C2425FE197}"/>
                    </a:ext>
                  </a:extLst>
                </p:cNvPr>
                <p:cNvPicPr/>
                <p:nvPr/>
              </p:nvPicPr>
              <p:blipFill>
                <a:blip r:embed="rId60"/>
                <a:stretch>
                  <a:fillRect/>
                </a:stretch>
              </p:blipFill>
              <p:spPr>
                <a:xfrm>
                  <a:off x="2371340" y="4638619"/>
                  <a:ext cx="87480" cy="15192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93" name="Freihand 92">
                  <a:extLst>
                    <a:ext uri="{FF2B5EF4-FFF2-40B4-BE49-F238E27FC236}">
                      <a16:creationId xmlns:a16="http://schemas.microsoft.com/office/drawing/2014/main" id="{465A4EAA-7603-FCEB-92AF-642160A8F855}"/>
                    </a:ext>
                  </a:extLst>
                </p14:cNvPr>
                <p14:cNvContentPartPr/>
                <p14:nvPr/>
              </p14:nvContentPartPr>
              <p14:xfrm>
                <a:off x="2396540" y="4717459"/>
                <a:ext cx="91440" cy="81720"/>
              </p14:xfrm>
            </p:contentPart>
          </mc:Choice>
          <mc:Fallback xmlns="">
            <p:pic>
              <p:nvPicPr>
                <p:cNvPr id="93" name="Freihand 92">
                  <a:extLst>
                    <a:ext uri="{FF2B5EF4-FFF2-40B4-BE49-F238E27FC236}">
                      <a16:creationId xmlns:a16="http://schemas.microsoft.com/office/drawing/2014/main" id="{465A4EAA-7603-FCEB-92AF-642160A8F855}"/>
                    </a:ext>
                  </a:extLst>
                </p:cNvPr>
                <p:cNvPicPr/>
                <p:nvPr/>
              </p:nvPicPr>
              <p:blipFill>
                <a:blip r:embed="rId62"/>
                <a:stretch>
                  <a:fillRect/>
                </a:stretch>
              </p:blipFill>
              <p:spPr>
                <a:xfrm>
                  <a:off x="2390420" y="4711339"/>
                  <a:ext cx="10368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94" name="Freihand 93">
                  <a:extLst>
                    <a:ext uri="{FF2B5EF4-FFF2-40B4-BE49-F238E27FC236}">
                      <a16:creationId xmlns:a16="http://schemas.microsoft.com/office/drawing/2014/main" id="{75EA24A6-1D8B-3F88-BD2E-8CE0B0D6D8BA}"/>
                    </a:ext>
                  </a:extLst>
                </p14:cNvPr>
                <p14:cNvContentPartPr/>
                <p14:nvPr/>
              </p14:nvContentPartPr>
              <p14:xfrm>
                <a:off x="2397980" y="4724299"/>
                <a:ext cx="92520" cy="82080"/>
              </p14:xfrm>
            </p:contentPart>
          </mc:Choice>
          <mc:Fallback xmlns="">
            <p:pic>
              <p:nvPicPr>
                <p:cNvPr id="94" name="Freihand 93">
                  <a:extLst>
                    <a:ext uri="{FF2B5EF4-FFF2-40B4-BE49-F238E27FC236}">
                      <a16:creationId xmlns:a16="http://schemas.microsoft.com/office/drawing/2014/main" id="{75EA24A6-1D8B-3F88-BD2E-8CE0B0D6D8BA}"/>
                    </a:ext>
                  </a:extLst>
                </p:cNvPr>
                <p:cNvPicPr/>
                <p:nvPr/>
              </p:nvPicPr>
              <p:blipFill>
                <a:blip r:embed="rId64"/>
                <a:stretch>
                  <a:fillRect/>
                </a:stretch>
              </p:blipFill>
              <p:spPr>
                <a:xfrm>
                  <a:off x="2391836" y="4718179"/>
                  <a:ext cx="104808" cy="9432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97" name="Freihand 96">
                  <a:extLst>
                    <a:ext uri="{FF2B5EF4-FFF2-40B4-BE49-F238E27FC236}">
                      <a16:creationId xmlns:a16="http://schemas.microsoft.com/office/drawing/2014/main" id="{F8A75AB3-2C4C-4C97-3598-8DBAD4A415B0}"/>
                    </a:ext>
                  </a:extLst>
                </p14:cNvPr>
                <p14:cNvContentPartPr/>
                <p14:nvPr/>
              </p14:nvContentPartPr>
              <p14:xfrm>
                <a:off x="2419580" y="4771459"/>
                <a:ext cx="91440" cy="51840"/>
              </p14:xfrm>
            </p:contentPart>
          </mc:Choice>
          <mc:Fallback xmlns="">
            <p:pic>
              <p:nvPicPr>
                <p:cNvPr id="97" name="Freihand 96">
                  <a:extLst>
                    <a:ext uri="{FF2B5EF4-FFF2-40B4-BE49-F238E27FC236}">
                      <a16:creationId xmlns:a16="http://schemas.microsoft.com/office/drawing/2014/main" id="{F8A75AB3-2C4C-4C97-3598-8DBAD4A415B0}"/>
                    </a:ext>
                  </a:extLst>
                </p:cNvPr>
                <p:cNvPicPr/>
                <p:nvPr/>
              </p:nvPicPr>
              <p:blipFill>
                <a:blip r:embed="rId66"/>
                <a:stretch>
                  <a:fillRect/>
                </a:stretch>
              </p:blipFill>
              <p:spPr>
                <a:xfrm>
                  <a:off x="2413460" y="4765339"/>
                  <a:ext cx="103680" cy="6408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98" name="Freihand 97">
                  <a:extLst>
                    <a:ext uri="{FF2B5EF4-FFF2-40B4-BE49-F238E27FC236}">
                      <a16:creationId xmlns:a16="http://schemas.microsoft.com/office/drawing/2014/main" id="{0039248F-B126-7053-3BEF-B66F63736A0E}"/>
                    </a:ext>
                  </a:extLst>
                </p14:cNvPr>
                <p14:cNvContentPartPr/>
                <p14:nvPr/>
              </p14:nvContentPartPr>
              <p14:xfrm>
                <a:off x="2415260" y="4777939"/>
                <a:ext cx="115920" cy="48240"/>
              </p14:xfrm>
            </p:contentPart>
          </mc:Choice>
          <mc:Fallback xmlns="">
            <p:pic>
              <p:nvPicPr>
                <p:cNvPr id="98" name="Freihand 97">
                  <a:extLst>
                    <a:ext uri="{FF2B5EF4-FFF2-40B4-BE49-F238E27FC236}">
                      <a16:creationId xmlns:a16="http://schemas.microsoft.com/office/drawing/2014/main" id="{0039248F-B126-7053-3BEF-B66F63736A0E}"/>
                    </a:ext>
                  </a:extLst>
                </p:cNvPr>
                <p:cNvPicPr/>
                <p:nvPr/>
              </p:nvPicPr>
              <p:blipFill>
                <a:blip r:embed="rId68"/>
                <a:stretch>
                  <a:fillRect/>
                </a:stretch>
              </p:blipFill>
              <p:spPr>
                <a:xfrm>
                  <a:off x="2409140" y="4771819"/>
                  <a:ext cx="128160" cy="60480"/>
                </a:xfrm>
                <a:prstGeom prst="rect">
                  <a:avLst/>
                </a:prstGeom>
              </p:spPr>
            </p:pic>
          </mc:Fallback>
        </mc:AlternateContent>
        <mc:AlternateContent xmlns:mc="http://schemas.openxmlformats.org/markup-compatibility/2006" xmlns:p14="http://schemas.microsoft.com/office/powerpoint/2010/main">
          <mc:Choice Requires="p14">
            <p:contentPart p14:bwMode="auto" r:id="rId69">
              <p14:nvContentPartPr>
                <p14:cNvPr id="100" name="Freihand 99">
                  <a:extLst>
                    <a:ext uri="{FF2B5EF4-FFF2-40B4-BE49-F238E27FC236}">
                      <a16:creationId xmlns:a16="http://schemas.microsoft.com/office/drawing/2014/main" id="{4FA26DB9-602B-975D-DF7E-04BD74D0DAD3}"/>
                    </a:ext>
                  </a:extLst>
                </p14:cNvPr>
                <p14:cNvContentPartPr/>
                <p14:nvPr/>
              </p14:nvContentPartPr>
              <p14:xfrm>
                <a:off x="2232020" y="4497139"/>
                <a:ext cx="688320" cy="442440"/>
              </p14:xfrm>
            </p:contentPart>
          </mc:Choice>
          <mc:Fallback xmlns="">
            <p:pic>
              <p:nvPicPr>
                <p:cNvPr id="100" name="Freihand 99">
                  <a:extLst>
                    <a:ext uri="{FF2B5EF4-FFF2-40B4-BE49-F238E27FC236}">
                      <a16:creationId xmlns:a16="http://schemas.microsoft.com/office/drawing/2014/main" id="{4FA26DB9-602B-975D-DF7E-04BD74D0DAD3}"/>
                    </a:ext>
                  </a:extLst>
                </p:cNvPr>
                <p:cNvPicPr/>
                <p:nvPr/>
              </p:nvPicPr>
              <p:blipFill>
                <a:blip r:embed="rId70"/>
                <a:stretch>
                  <a:fillRect/>
                </a:stretch>
              </p:blipFill>
              <p:spPr>
                <a:xfrm>
                  <a:off x="2225900" y="4491019"/>
                  <a:ext cx="700560" cy="454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01" name="Freihand 100">
                  <a:extLst>
                    <a:ext uri="{FF2B5EF4-FFF2-40B4-BE49-F238E27FC236}">
                      <a16:creationId xmlns:a16="http://schemas.microsoft.com/office/drawing/2014/main" id="{D54AEE75-C379-CD20-AC8D-DCEF57C2D2E9}"/>
                    </a:ext>
                  </a:extLst>
                </p14:cNvPr>
                <p14:cNvContentPartPr/>
                <p14:nvPr/>
              </p14:nvContentPartPr>
              <p14:xfrm>
                <a:off x="2261540" y="4896739"/>
                <a:ext cx="91080" cy="10440"/>
              </p14:xfrm>
            </p:contentPart>
          </mc:Choice>
          <mc:Fallback xmlns="">
            <p:pic>
              <p:nvPicPr>
                <p:cNvPr id="101" name="Freihand 100">
                  <a:extLst>
                    <a:ext uri="{FF2B5EF4-FFF2-40B4-BE49-F238E27FC236}">
                      <a16:creationId xmlns:a16="http://schemas.microsoft.com/office/drawing/2014/main" id="{D54AEE75-C379-CD20-AC8D-DCEF57C2D2E9}"/>
                    </a:ext>
                  </a:extLst>
                </p:cNvPr>
                <p:cNvPicPr/>
                <p:nvPr/>
              </p:nvPicPr>
              <p:blipFill>
                <a:blip r:embed="rId72"/>
                <a:stretch>
                  <a:fillRect/>
                </a:stretch>
              </p:blipFill>
              <p:spPr>
                <a:xfrm>
                  <a:off x="2255420" y="4890400"/>
                  <a:ext cx="103320" cy="23117"/>
                </a:xfrm>
                <a:prstGeom prst="rect">
                  <a:avLst/>
                </a:prstGeom>
              </p:spPr>
            </p:pic>
          </mc:Fallback>
        </mc:AlternateContent>
      </p:grpSp>
      <mc:AlternateContent xmlns:mc="http://schemas.openxmlformats.org/markup-compatibility/2006" xmlns:p14="http://schemas.microsoft.com/office/powerpoint/2010/main">
        <mc:Choice Requires="p14">
          <p:contentPart p14:bwMode="auto" r:id="rId73">
            <p14:nvContentPartPr>
              <p14:cNvPr id="106" name="Freihand 105">
                <a:extLst>
                  <a:ext uri="{FF2B5EF4-FFF2-40B4-BE49-F238E27FC236}">
                    <a16:creationId xmlns:a16="http://schemas.microsoft.com/office/drawing/2014/main" id="{8551BE6F-707B-7B37-D7F2-A18EB0BE257B}"/>
                  </a:ext>
                </a:extLst>
              </p14:cNvPr>
              <p14:cNvContentPartPr/>
              <p14:nvPr/>
            </p14:nvContentPartPr>
            <p14:xfrm>
              <a:off x="4747738" y="4772122"/>
              <a:ext cx="187920" cy="144000"/>
            </p14:xfrm>
          </p:contentPart>
        </mc:Choice>
        <mc:Fallback xmlns="">
          <p:pic>
            <p:nvPicPr>
              <p:cNvPr id="106" name="Freihand 105">
                <a:extLst>
                  <a:ext uri="{FF2B5EF4-FFF2-40B4-BE49-F238E27FC236}">
                    <a16:creationId xmlns:a16="http://schemas.microsoft.com/office/drawing/2014/main" id="{8551BE6F-707B-7B37-D7F2-A18EB0BE257B}"/>
                  </a:ext>
                </a:extLst>
              </p:cNvPr>
              <p:cNvPicPr/>
              <p:nvPr/>
            </p:nvPicPr>
            <p:blipFill>
              <a:blip r:embed="rId74"/>
              <a:stretch>
                <a:fillRect/>
              </a:stretch>
            </p:blipFill>
            <p:spPr>
              <a:xfrm>
                <a:off x="4741630" y="4766002"/>
                <a:ext cx="200137" cy="15624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09" name="Freihand 108">
                <a:extLst>
                  <a:ext uri="{FF2B5EF4-FFF2-40B4-BE49-F238E27FC236}">
                    <a16:creationId xmlns:a16="http://schemas.microsoft.com/office/drawing/2014/main" id="{DEEEB731-1170-C821-DE19-6E48A1239C74}"/>
                  </a:ext>
                </a:extLst>
              </p14:cNvPr>
              <p14:cNvContentPartPr/>
              <p14:nvPr/>
            </p14:nvContentPartPr>
            <p14:xfrm>
              <a:off x="759371" y="4654659"/>
              <a:ext cx="2012760" cy="659520"/>
            </p14:xfrm>
          </p:contentPart>
        </mc:Choice>
        <mc:Fallback xmlns="">
          <p:pic>
            <p:nvPicPr>
              <p:cNvPr id="109" name="Freihand 108">
                <a:extLst>
                  <a:ext uri="{FF2B5EF4-FFF2-40B4-BE49-F238E27FC236}">
                    <a16:creationId xmlns:a16="http://schemas.microsoft.com/office/drawing/2014/main" id="{DEEEB731-1170-C821-DE19-6E48A1239C74}"/>
                  </a:ext>
                </a:extLst>
              </p:cNvPr>
              <p:cNvPicPr/>
              <p:nvPr/>
            </p:nvPicPr>
            <p:blipFill>
              <a:blip r:embed="rId6"/>
              <a:stretch>
                <a:fillRect/>
              </a:stretch>
            </p:blipFill>
            <p:spPr>
              <a:xfrm>
                <a:off x="753251" y="4648539"/>
                <a:ext cx="2025000" cy="67176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113" name="Freihand 112">
                <a:extLst>
                  <a:ext uri="{FF2B5EF4-FFF2-40B4-BE49-F238E27FC236}">
                    <a16:creationId xmlns:a16="http://schemas.microsoft.com/office/drawing/2014/main" id="{450E551E-AEDE-E987-AC14-0C9EC84F8C3F}"/>
                  </a:ext>
                </a:extLst>
              </p14:cNvPr>
              <p14:cNvContentPartPr/>
              <p14:nvPr/>
            </p14:nvContentPartPr>
            <p14:xfrm>
              <a:off x="2508127" y="2952635"/>
              <a:ext cx="7200" cy="281880"/>
            </p14:xfrm>
          </p:contentPart>
        </mc:Choice>
        <mc:Fallback xmlns="">
          <p:pic>
            <p:nvPicPr>
              <p:cNvPr id="113" name="Freihand 112">
                <a:extLst>
                  <a:ext uri="{FF2B5EF4-FFF2-40B4-BE49-F238E27FC236}">
                    <a16:creationId xmlns:a16="http://schemas.microsoft.com/office/drawing/2014/main" id="{450E551E-AEDE-E987-AC14-0C9EC84F8C3F}"/>
                  </a:ext>
                </a:extLst>
              </p:cNvPr>
              <p:cNvPicPr/>
              <p:nvPr/>
            </p:nvPicPr>
            <p:blipFill>
              <a:blip r:embed="rId77"/>
              <a:stretch>
                <a:fillRect/>
              </a:stretch>
            </p:blipFill>
            <p:spPr>
              <a:xfrm>
                <a:off x="2490127" y="2916589"/>
                <a:ext cx="42840" cy="353612"/>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114" name="Freihand 113">
                <a:extLst>
                  <a:ext uri="{FF2B5EF4-FFF2-40B4-BE49-F238E27FC236}">
                    <a16:creationId xmlns:a16="http://schemas.microsoft.com/office/drawing/2014/main" id="{D60CB3E5-30FE-5D14-FA9D-7BA80EB5AD31}"/>
                  </a:ext>
                </a:extLst>
              </p14:cNvPr>
              <p14:cNvContentPartPr/>
              <p14:nvPr/>
            </p14:nvContentPartPr>
            <p14:xfrm>
              <a:off x="2396887" y="2925635"/>
              <a:ext cx="100800" cy="14760"/>
            </p14:xfrm>
          </p:contentPart>
        </mc:Choice>
        <mc:Fallback xmlns="">
          <p:pic>
            <p:nvPicPr>
              <p:cNvPr id="114" name="Freihand 113">
                <a:extLst>
                  <a:ext uri="{FF2B5EF4-FFF2-40B4-BE49-F238E27FC236}">
                    <a16:creationId xmlns:a16="http://schemas.microsoft.com/office/drawing/2014/main" id="{D60CB3E5-30FE-5D14-FA9D-7BA80EB5AD31}"/>
                  </a:ext>
                </a:extLst>
              </p:cNvPr>
              <p:cNvPicPr/>
              <p:nvPr/>
            </p:nvPicPr>
            <p:blipFill>
              <a:blip r:embed="rId79"/>
              <a:stretch>
                <a:fillRect/>
              </a:stretch>
            </p:blipFill>
            <p:spPr>
              <a:xfrm>
                <a:off x="2378887" y="2889635"/>
                <a:ext cx="136440" cy="8640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115" name="Freihand 114">
                <a:extLst>
                  <a:ext uri="{FF2B5EF4-FFF2-40B4-BE49-F238E27FC236}">
                    <a16:creationId xmlns:a16="http://schemas.microsoft.com/office/drawing/2014/main" id="{39476D23-F7C7-CF87-ECA6-4072548906A6}"/>
                  </a:ext>
                </a:extLst>
              </p14:cNvPr>
              <p14:cNvContentPartPr/>
              <p14:nvPr/>
            </p14:nvContentPartPr>
            <p14:xfrm>
              <a:off x="2412727" y="2914475"/>
              <a:ext cx="89640" cy="441720"/>
            </p14:xfrm>
          </p:contentPart>
        </mc:Choice>
        <mc:Fallback xmlns="">
          <p:pic>
            <p:nvPicPr>
              <p:cNvPr id="115" name="Freihand 114">
                <a:extLst>
                  <a:ext uri="{FF2B5EF4-FFF2-40B4-BE49-F238E27FC236}">
                    <a16:creationId xmlns:a16="http://schemas.microsoft.com/office/drawing/2014/main" id="{39476D23-F7C7-CF87-ECA6-4072548906A6}"/>
                  </a:ext>
                </a:extLst>
              </p:cNvPr>
              <p:cNvPicPr/>
              <p:nvPr/>
            </p:nvPicPr>
            <p:blipFill>
              <a:blip r:embed="rId81"/>
              <a:stretch>
                <a:fillRect/>
              </a:stretch>
            </p:blipFill>
            <p:spPr>
              <a:xfrm>
                <a:off x="2394654" y="2878446"/>
                <a:ext cx="125424" cy="513418"/>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116" name="Freihand 115">
                <a:extLst>
                  <a:ext uri="{FF2B5EF4-FFF2-40B4-BE49-F238E27FC236}">
                    <a16:creationId xmlns:a16="http://schemas.microsoft.com/office/drawing/2014/main" id="{3F25E20C-06AC-A66E-4485-2D0FE587B98F}"/>
                  </a:ext>
                </a:extLst>
              </p14:cNvPr>
              <p14:cNvContentPartPr/>
              <p14:nvPr/>
            </p14:nvContentPartPr>
            <p14:xfrm>
              <a:off x="2442967" y="2902955"/>
              <a:ext cx="56880" cy="94680"/>
            </p14:xfrm>
          </p:contentPart>
        </mc:Choice>
        <mc:Fallback xmlns="">
          <p:pic>
            <p:nvPicPr>
              <p:cNvPr id="116" name="Freihand 115">
                <a:extLst>
                  <a:ext uri="{FF2B5EF4-FFF2-40B4-BE49-F238E27FC236}">
                    <a16:creationId xmlns:a16="http://schemas.microsoft.com/office/drawing/2014/main" id="{3F25E20C-06AC-A66E-4485-2D0FE587B98F}"/>
                  </a:ext>
                </a:extLst>
              </p:cNvPr>
              <p:cNvPicPr/>
              <p:nvPr/>
            </p:nvPicPr>
            <p:blipFill>
              <a:blip r:embed="rId83"/>
              <a:stretch>
                <a:fillRect/>
              </a:stretch>
            </p:blipFill>
            <p:spPr>
              <a:xfrm>
                <a:off x="2424967" y="2866955"/>
                <a:ext cx="92520" cy="1663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117" name="Freihand 116">
                <a:extLst>
                  <a:ext uri="{FF2B5EF4-FFF2-40B4-BE49-F238E27FC236}">
                    <a16:creationId xmlns:a16="http://schemas.microsoft.com/office/drawing/2014/main" id="{EA333BC0-716E-FD28-713A-F650965F7FAC}"/>
                  </a:ext>
                </a:extLst>
              </p14:cNvPr>
              <p14:cNvContentPartPr/>
              <p14:nvPr/>
            </p14:nvContentPartPr>
            <p14:xfrm>
              <a:off x="2166127" y="2900075"/>
              <a:ext cx="41760" cy="291600"/>
            </p14:xfrm>
          </p:contentPart>
        </mc:Choice>
        <mc:Fallback xmlns="">
          <p:pic>
            <p:nvPicPr>
              <p:cNvPr id="117" name="Freihand 116">
                <a:extLst>
                  <a:ext uri="{FF2B5EF4-FFF2-40B4-BE49-F238E27FC236}">
                    <a16:creationId xmlns:a16="http://schemas.microsoft.com/office/drawing/2014/main" id="{EA333BC0-716E-FD28-713A-F650965F7FAC}"/>
                  </a:ext>
                </a:extLst>
              </p:cNvPr>
              <p:cNvPicPr/>
              <p:nvPr/>
            </p:nvPicPr>
            <p:blipFill>
              <a:blip r:embed="rId85"/>
              <a:stretch>
                <a:fillRect/>
              </a:stretch>
            </p:blipFill>
            <p:spPr>
              <a:xfrm>
                <a:off x="2148127" y="2864119"/>
                <a:ext cx="77400" cy="363152"/>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119" name="Freihand 118">
                <a:extLst>
                  <a:ext uri="{FF2B5EF4-FFF2-40B4-BE49-F238E27FC236}">
                    <a16:creationId xmlns:a16="http://schemas.microsoft.com/office/drawing/2014/main" id="{67D885E2-AC92-6DC4-4837-81149107F909}"/>
                  </a:ext>
                </a:extLst>
              </p14:cNvPr>
              <p14:cNvContentPartPr/>
              <p14:nvPr/>
            </p14:nvContentPartPr>
            <p14:xfrm>
              <a:off x="2154607" y="3003395"/>
              <a:ext cx="720" cy="264960"/>
            </p14:xfrm>
          </p:contentPart>
        </mc:Choice>
        <mc:Fallback xmlns="">
          <p:pic>
            <p:nvPicPr>
              <p:cNvPr id="119" name="Freihand 118">
                <a:extLst>
                  <a:ext uri="{FF2B5EF4-FFF2-40B4-BE49-F238E27FC236}">
                    <a16:creationId xmlns:a16="http://schemas.microsoft.com/office/drawing/2014/main" id="{67D885E2-AC92-6DC4-4837-81149107F909}"/>
                  </a:ext>
                </a:extLst>
              </p:cNvPr>
              <p:cNvPicPr/>
              <p:nvPr/>
            </p:nvPicPr>
            <p:blipFill>
              <a:blip r:embed="rId87"/>
              <a:stretch>
                <a:fillRect/>
              </a:stretch>
            </p:blipFill>
            <p:spPr>
              <a:xfrm>
                <a:off x="2118607" y="2967395"/>
                <a:ext cx="72000" cy="33660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122" name="Freihand 121">
                <a:extLst>
                  <a:ext uri="{FF2B5EF4-FFF2-40B4-BE49-F238E27FC236}">
                    <a16:creationId xmlns:a16="http://schemas.microsoft.com/office/drawing/2014/main" id="{CCC9A016-30E1-176A-7405-999786C55B3D}"/>
                  </a:ext>
                </a:extLst>
              </p14:cNvPr>
              <p14:cNvContentPartPr/>
              <p14:nvPr/>
            </p14:nvContentPartPr>
            <p14:xfrm>
              <a:off x="2156200" y="3307551"/>
              <a:ext cx="28440" cy="50040"/>
            </p14:xfrm>
          </p:contentPart>
        </mc:Choice>
        <mc:Fallback xmlns="">
          <p:pic>
            <p:nvPicPr>
              <p:cNvPr id="122" name="Freihand 121">
                <a:extLst>
                  <a:ext uri="{FF2B5EF4-FFF2-40B4-BE49-F238E27FC236}">
                    <a16:creationId xmlns:a16="http://schemas.microsoft.com/office/drawing/2014/main" id="{CCC9A016-30E1-176A-7405-999786C55B3D}"/>
                  </a:ext>
                </a:extLst>
              </p:cNvPr>
              <p:cNvPicPr/>
              <p:nvPr/>
            </p:nvPicPr>
            <p:blipFill>
              <a:blip r:embed="rId89"/>
              <a:stretch>
                <a:fillRect/>
              </a:stretch>
            </p:blipFill>
            <p:spPr>
              <a:xfrm>
                <a:off x="2137969" y="3271290"/>
                <a:ext cx="64537" cy="122199"/>
              </a:xfrm>
              <a:prstGeom prst="rect">
                <a:avLst/>
              </a:prstGeom>
            </p:spPr>
          </p:pic>
        </mc:Fallback>
      </mc:AlternateContent>
      <p:cxnSp>
        <p:nvCxnSpPr>
          <p:cNvPr id="124" name="Gerader Verbinder 123">
            <a:extLst>
              <a:ext uri="{FF2B5EF4-FFF2-40B4-BE49-F238E27FC236}">
                <a16:creationId xmlns:a16="http://schemas.microsoft.com/office/drawing/2014/main" id="{7A49AB05-B300-6144-1569-A3770686A189}"/>
              </a:ext>
            </a:extLst>
          </p:cNvPr>
          <p:cNvCxnSpPr/>
          <p:nvPr/>
        </p:nvCxnSpPr>
        <p:spPr>
          <a:xfrm>
            <a:off x="2137089" y="5439569"/>
            <a:ext cx="0" cy="71672"/>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982615D7-9B1B-19EE-9BEC-82B5A4CB59B1}"/>
              </a:ext>
            </a:extLst>
          </p:cNvPr>
          <p:cNvCxnSpPr/>
          <p:nvPr/>
        </p:nvCxnSpPr>
        <p:spPr>
          <a:xfrm>
            <a:off x="2519634" y="5442796"/>
            <a:ext cx="0" cy="71672"/>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90">
            <p14:nvContentPartPr>
              <p14:cNvPr id="130" name="Freihand 129">
                <a:extLst>
                  <a:ext uri="{FF2B5EF4-FFF2-40B4-BE49-F238E27FC236}">
                    <a16:creationId xmlns:a16="http://schemas.microsoft.com/office/drawing/2014/main" id="{7CE1CE9A-0744-D1DD-10D1-6F4B85875653}"/>
                  </a:ext>
                </a:extLst>
              </p14:cNvPr>
              <p14:cNvContentPartPr/>
              <p14:nvPr/>
            </p14:nvContentPartPr>
            <p14:xfrm>
              <a:off x="2136907" y="4903667"/>
              <a:ext cx="230760" cy="181440"/>
            </p14:xfrm>
          </p:contentPart>
        </mc:Choice>
        <mc:Fallback xmlns="">
          <p:pic>
            <p:nvPicPr>
              <p:cNvPr id="130" name="Freihand 129">
                <a:extLst>
                  <a:ext uri="{FF2B5EF4-FFF2-40B4-BE49-F238E27FC236}">
                    <a16:creationId xmlns:a16="http://schemas.microsoft.com/office/drawing/2014/main" id="{7CE1CE9A-0744-D1DD-10D1-6F4B85875653}"/>
                  </a:ext>
                </a:extLst>
              </p:cNvPr>
              <p:cNvPicPr/>
              <p:nvPr/>
            </p:nvPicPr>
            <p:blipFill>
              <a:blip r:embed="rId91"/>
              <a:stretch>
                <a:fillRect/>
              </a:stretch>
            </p:blipFill>
            <p:spPr>
              <a:xfrm>
                <a:off x="2130777" y="4897547"/>
                <a:ext cx="243019" cy="19368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132" name="Freihand 131">
                <a:extLst>
                  <a:ext uri="{FF2B5EF4-FFF2-40B4-BE49-F238E27FC236}">
                    <a16:creationId xmlns:a16="http://schemas.microsoft.com/office/drawing/2014/main" id="{712C41C0-43A7-C0BF-B06C-E0A2D337D143}"/>
                  </a:ext>
                </a:extLst>
              </p14:cNvPr>
              <p14:cNvContentPartPr/>
              <p14:nvPr/>
            </p14:nvContentPartPr>
            <p14:xfrm>
              <a:off x="2364787" y="4914467"/>
              <a:ext cx="118800" cy="58320"/>
            </p14:xfrm>
          </p:contentPart>
        </mc:Choice>
        <mc:Fallback xmlns="">
          <p:pic>
            <p:nvPicPr>
              <p:cNvPr id="132" name="Freihand 131">
                <a:extLst>
                  <a:ext uri="{FF2B5EF4-FFF2-40B4-BE49-F238E27FC236}">
                    <a16:creationId xmlns:a16="http://schemas.microsoft.com/office/drawing/2014/main" id="{712C41C0-43A7-C0BF-B06C-E0A2D337D143}"/>
                  </a:ext>
                </a:extLst>
              </p:cNvPr>
              <p:cNvPicPr/>
              <p:nvPr/>
            </p:nvPicPr>
            <p:blipFill>
              <a:blip r:embed="rId93"/>
              <a:stretch>
                <a:fillRect/>
              </a:stretch>
            </p:blipFill>
            <p:spPr>
              <a:xfrm>
                <a:off x="2358667" y="4908347"/>
                <a:ext cx="131040" cy="70560"/>
              </a:xfrm>
              <a:prstGeom prst="rect">
                <a:avLst/>
              </a:prstGeom>
            </p:spPr>
          </p:pic>
        </mc:Fallback>
      </mc:AlternateContent>
      <p:grpSp>
        <p:nvGrpSpPr>
          <p:cNvPr id="163" name="Gruppieren 162">
            <a:extLst>
              <a:ext uri="{FF2B5EF4-FFF2-40B4-BE49-F238E27FC236}">
                <a16:creationId xmlns:a16="http://schemas.microsoft.com/office/drawing/2014/main" id="{709AF47E-950D-1B29-C0B1-9645861ABFBC}"/>
              </a:ext>
            </a:extLst>
          </p:cNvPr>
          <p:cNvGrpSpPr/>
          <p:nvPr/>
        </p:nvGrpSpPr>
        <p:grpSpPr>
          <a:xfrm>
            <a:off x="2112019" y="4629144"/>
            <a:ext cx="403200" cy="434160"/>
            <a:chOff x="2232669" y="4629144"/>
            <a:chExt cx="403200" cy="434160"/>
          </a:xfrm>
        </p:grpSpPr>
        <mc:AlternateContent xmlns:mc="http://schemas.openxmlformats.org/markup-compatibility/2006" xmlns:p14="http://schemas.microsoft.com/office/powerpoint/2010/main">
          <mc:Choice Requires="p14">
            <p:contentPart p14:bwMode="auto" r:id="rId94">
              <p14:nvContentPartPr>
                <p14:cNvPr id="133" name="Freihand 132">
                  <a:extLst>
                    <a:ext uri="{FF2B5EF4-FFF2-40B4-BE49-F238E27FC236}">
                      <a16:creationId xmlns:a16="http://schemas.microsoft.com/office/drawing/2014/main" id="{24E39A31-9ACE-61B1-25F7-B995C6F86207}"/>
                    </a:ext>
                  </a:extLst>
                </p14:cNvPr>
                <p14:cNvContentPartPr/>
                <p14:nvPr/>
              </p14:nvContentPartPr>
              <p14:xfrm>
                <a:off x="2283069" y="4629144"/>
                <a:ext cx="165600" cy="230400"/>
              </p14:xfrm>
            </p:contentPart>
          </mc:Choice>
          <mc:Fallback xmlns="">
            <p:pic>
              <p:nvPicPr>
                <p:cNvPr id="133" name="Freihand 132">
                  <a:extLst>
                    <a:ext uri="{FF2B5EF4-FFF2-40B4-BE49-F238E27FC236}">
                      <a16:creationId xmlns:a16="http://schemas.microsoft.com/office/drawing/2014/main" id="{24E39A31-9ACE-61B1-25F7-B995C6F86207}"/>
                    </a:ext>
                  </a:extLst>
                </p:cNvPr>
                <p:cNvPicPr/>
                <p:nvPr/>
              </p:nvPicPr>
              <p:blipFill>
                <a:blip r:embed="rId95"/>
                <a:stretch>
                  <a:fillRect/>
                </a:stretch>
              </p:blipFill>
              <p:spPr>
                <a:xfrm>
                  <a:off x="2276949" y="4623034"/>
                  <a:ext cx="177840" cy="242621"/>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134" name="Freihand 133">
                  <a:extLst>
                    <a:ext uri="{FF2B5EF4-FFF2-40B4-BE49-F238E27FC236}">
                      <a16:creationId xmlns:a16="http://schemas.microsoft.com/office/drawing/2014/main" id="{FDE87CBB-55CB-6B51-B5FF-29E009F1AD00}"/>
                    </a:ext>
                  </a:extLst>
                </p14:cNvPr>
                <p14:cNvContentPartPr/>
                <p14:nvPr/>
              </p14:nvContentPartPr>
              <p14:xfrm>
                <a:off x="2421669" y="4684944"/>
                <a:ext cx="43920" cy="141840"/>
              </p14:xfrm>
            </p:contentPart>
          </mc:Choice>
          <mc:Fallback xmlns="">
            <p:pic>
              <p:nvPicPr>
                <p:cNvPr id="134" name="Freihand 133">
                  <a:extLst>
                    <a:ext uri="{FF2B5EF4-FFF2-40B4-BE49-F238E27FC236}">
                      <a16:creationId xmlns:a16="http://schemas.microsoft.com/office/drawing/2014/main" id="{FDE87CBB-55CB-6B51-B5FF-29E009F1AD00}"/>
                    </a:ext>
                  </a:extLst>
                </p:cNvPr>
                <p:cNvPicPr/>
                <p:nvPr/>
              </p:nvPicPr>
              <p:blipFill>
                <a:blip r:embed="rId97"/>
                <a:stretch>
                  <a:fillRect/>
                </a:stretch>
              </p:blipFill>
              <p:spPr>
                <a:xfrm>
                  <a:off x="2415549" y="4678824"/>
                  <a:ext cx="56160" cy="15408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136" name="Freihand 135">
                  <a:extLst>
                    <a:ext uri="{FF2B5EF4-FFF2-40B4-BE49-F238E27FC236}">
                      <a16:creationId xmlns:a16="http://schemas.microsoft.com/office/drawing/2014/main" id="{0EF33D3F-0B18-3873-EE57-6B83A615331B}"/>
                    </a:ext>
                  </a:extLst>
                </p14:cNvPr>
                <p14:cNvContentPartPr/>
                <p14:nvPr/>
              </p14:nvContentPartPr>
              <p14:xfrm>
                <a:off x="2450469" y="4828584"/>
                <a:ext cx="155520" cy="59040"/>
              </p14:xfrm>
            </p:contentPart>
          </mc:Choice>
          <mc:Fallback xmlns="">
            <p:pic>
              <p:nvPicPr>
                <p:cNvPr id="136" name="Freihand 135">
                  <a:extLst>
                    <a:ext uri="{FF2B5EF4-FFF2-40B4-BE49-F238E27FC236}">
                      <a16:creationId xmlns:a16="http://schemas.microsoft.com/office/drawing/2014/main" id="{0EF33D3F-0B18-3873-EE57-6B83A615331B}"/>
                    </a:ext>
                  </a:extLst>
                </p:cNvPr>
                <p:cNvPicPr/>
                <p:nvPr/>
              </p:nvPicPr>
              <p:blipFill>
                <a:blip r:embed="rId99"/>
                <a:stretch>
                  <a:fillRect/>
                </a:stretch>
              </p:blipFill>
              <p:spPr>
                <a:xfrm>
                  <a:off x="2444349" y="4822464"/>
                  <a:ext cx="16776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137" name="Freihand 136">
                  <a:extLst>
                    <a:ext uri="{FF2B5EF4-FFF2-40B4-BE49-F238E27FC236}">
                      <a16:creationId xmlns:a16="http://schemas.microsoft.com/office/drawing/2014/main" id="{90F13751-3369-4781-E035-70477C83851A}"/>
                    </a:ext>
                  </a:extLst>
                </p14:cNvPr>
                <p14:cNvContentPartPr/>
                <p14:nvPr/>
              </p14:nvContentPartPr>
              <p14:xfrm>
                <a:off x="2253189" y="4790784"/>
                <a:ext cx="382680" cy="247680"/>
              </p14:xfrm>
            </p:contentPart>
          </mc:Choice>
          <mc:Fallback xmlns="">
            <p:pic>
              <p:nvPicPr>
                <p:cNvPr id="137" name="Freihand 136">
                  <a:extLst>
                    <a:ext uri="{FF2B5EF4-FFF2-40B4-BE49-F238E27FC236}">
                      <a16:creationId xmlns:a16="http://schemas.microsoft.com/office/drawing/2014/main" id="{90F13751-3369-4781-E035-70477C83851A}"/>
                    </a:ext>
                  </a:extLst>
                </p:cNvPr>
                <p:cNvPicPr/>
                <p:nvPr/>
              </p:nvPicPr>
              <p:blipFill>
                <a:blip r:embed="rId101"/>
                <a:stretch>
                  <a:fillRect/>
                </a:stretch>
              </p:blipFill>
              <p:spPr>
                <a:xfrm>
                  <a:off x="2247069" y="4784655"/>
                  <a:ext cx="394920" cy="259938"/>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139" name="Freihand 138">
                  <a:extLst>
                    <a:ext uri="{FF2B5EF4-FFF2-40B4-BE49-F238E27FC236}">
                      <a16:creationId xmlns:a16="http://schemas.microsoft.com/office/drawing/2014/main" id="{AE85D5FA-C378-12D2-6255-C743A2B22BF4}"/>
                    </a:ext>
                  </a:extLst>
                </p14:cNvPr>
                <p14:cNvContentPartPr/>
                <p14:nvPr/>
              </p14:nvContentPartPr>
              <p14:xfrm>
                <a:off x="2265429" y="4930824"/>
                <a:ext cx="51120" cy="105120"/>
              </p14:xfrm>
            </p:contentPart>
          </mc:Choice>
          <mc:Fallback xmlns="">
            <p:pic>
              <p:nvPicPr>
                <p:cNvPr id="139" name="Freihand 138">
                  <a:extLst>
                    <a:ext uri="{FF2B5EF4-FFF2-40B4-BE49-F238E27FC236}">
                      <a16:creationId xmlns:a16="http://schemas.microsoft.com/office/drawing/2014/main" id="{AE85D5FA-C378-12D2-6255-C743A2B22BF4}"/>
                    </a:ext>
                  </a:extLst>
                </p:cNvPr>
                <p:cNvPicPr/>
                <p:nvPr/>
              </p:nvPicPr>
              <p:blipFill>
                <a:blip r:embed="rId103"/>
                <a:stretch>
                  <a:fillRect/>
                </a:stretch>
              </p:blipFill>
              <p:spPr>
                <a:xfrm>
                  <a:off x="2259309" y="4924704"/>
                  <a:ext cx="63360" cy="11736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140" name="Freihand 139">
                  <a:extLst>
                    <a:ext uri="{FF2B5EF4-FFF2-40B4-BE49-F238E27FC236}">
                      <a16:creationId xmlns:a16="http://schemas.microsoft.com/office/drawing/2014/main" id="{3EDDC9AC-1B9F-E464-D9D2-83238A155291}"/>
                    </a:ext>
                  </a:extLst>
                </p14:cNvPr>
                <p14:cNvContentPartPr/>
                <p14:nvPr/>
              </p14:nvContentPartPr>
              <p14:xfrm>
                <a:off x="2263989" y="4931544"/>
                <a:ext cx="47880" cy="108360"/>
              </p14:xfrm>
            </p:contentPart>
          </mc:Choice>
          <mc:Fallback xmlns="">
            <p:pic>
              <p:nvPicPr>
                <p:cNvPr id="140" name="Freihand 139">
                  <a:extLst>
                    <a:ext uri="{FF2B5EF4-FFF2-40B4-BE49-F238E27FC236}">
                      <a16:creationId xmlns:a16="http://schemas.microsoft.com/office/drawing/2014/main" id="{3EDDC9AC-1B9F-E464-D9D2-83238A155291}"/>
                    </a:ext>
                  </a:extLst>
                </p:cNvPr>
                <p:cNvPicPr/>
                <p:nvPr/>
              </p:nvPicPr>
              <p:blipFill>
                <a:blip r:embed="rId105"/>
                <a:stretch>
                  <a:fillRect/>
                </a:stretch>
              </p:blipFill>
              <p:spPr>
                <a:xfrm>
                  <a:off x="2257869" y="4925424"/>
                  <a:ext cx="60120" cy="12060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141" name="Freihand 140">
                  <a:extLst>
                    <a:ext uri="{FF2B5EF4-FFF2-40B4-BE49-F238E27FC236}">
                      <a16:creationId xmlns:a16="http://schemas.microsoft.com/office/drawing/2014/main" id="{3BF25557-B054-D60A-709B-DA73B8CB5B9C}"/>
                    </a:ext>
                  </a:extLst>
                </p14:cNvPr>
                <p14:cNvContentPartPr/>
                <p14:nvPr/>
              </p14:nvContentPartPr>
              <p14:xfrm>
                <a:off x="2261109" y="4928664"/>
                <a:ext cx="44280" cy="111960"/>
              </p14:xfrm>
            </p:contentPart>
          </mc:Choice>
          <mc:Fallback xmlns="">
            <p:pic>
              <p:nvPicPr>
                <p:cNvPr id="141" name="Freihand 140">
                  <a:extLst>
                    <a:ext uri="{FF2B5EF4-FFF2-40B4-BE49-F238E27FC236}">
                      <a16:creationId xmlns:a16="http://schemas.microsoft.com/office/drawing/2014/main" id="{3BF25557-B054-D60A-709B-DA73B8CB5B9C}"/>
                    </a:ext>
                  </a:extLst>
                </p:cNvPr>
                <p:cNvPicPr/>
                <p:nvPr/>
              </p:nvPicPr>
              <p:blipFill>
                <a:blip r:embed="rId107"/>
                <a:stretch>
                  <a:fillRect/>
                </a:stretch>
              </p:blipFill>
              <p:spPr>
                <a:xfrm>
                  <a:off x="2254989" y="4922544"/>
                  <a:ext cx="56520" cy="12420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142" name="Freihand 141">
                  <a:extLst>
                    <a:ext uri="{FF2B5EF4-FFF2-40B4-BE49-F238E27FC236}">
                      <a16:creationId xmlns:a16="http://schemas.microsoft.com/office/drawing/2014/main" id="{76C6F1BB-666E-2954-2084-E47498EB86A3}"/>
                    </a:ext>
                  </a:extLst>
                </p14:cNvPr>
                <p14:cNvContentPartPr/>
                <p14:nvPr/>
              </p14:nvContentPartPr>
              <p14:xfrm>
                <a:off x="2263629" y="4944504"/>
                <a:ext cx="45360" cy="95760"/>
              </p14:xfrm>
            </p:contentPart>
          </mc:Choice>
          <mc:Fallback xmlns="">
            <p:pic>
              <p:nvPicPr>
                <p:cNvPr id="142" name="Freihand 141">
                  <a:extLst>
                    <a:ext uri="{FF2B5EF4-FFF2-40B4-BE49-F238E27FC236}">
                      <a16:creationId xmlns:a16="http://schemas.microsoft.com/office/drawing/2014/main" id="{76C6F1BB-666E-2954-2084-E47498EB86A3}"/>
                    </a:ext>
                  </a:extLst>
                </p:cNvPr>
                <p:cNvPicPr/>
                <p:nvPr/>
              </p:nvPicPr>
              <p:blipFill>
                <a:blip r:embed="rId109"/>
                <a:stretch>
                  <a:fillRect/>
                </a:stretch>
              </p:blipFill>
              <p:spPr>
                <a:xfrm>
                  <a:off x="2257509" y="4938384"/>
                  <a:ext cx="5760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143" name="Freihand 142">
                  <a:extLst>
                    <a:ext uri="{FF2B5EF4-FFF2-40B4-BE49-F238E27FC236}">
                      <a16:creationId xmlns:a16="http://schemas.microsoft.com/office/drawing/2014/main" id="{E7F3BD5F-0E19-A74D-9FCF-FCE39778BB40}"/>
                    </a:ext>
                  </a:extLst>
                </p14:cNvPr>
                <p14:cNvContentPartPr/>
                <p14:nvPr/>
              </p14:nvContentPartPr>
              <p14:xfrm>
                <a:off x="2238789" y="4981584"/>
                <a:ext cx="54360" cy="75240"/>
              </p14:xfrm>
            </p:contentPart>
          </mc:Choice>
          <mc:Fallback xmlns="">
            <p:pic>
              <p:nvPicPr>
                <p:cNvPr id="143" name="Freihand 142">
                  <a:extLst>
                    <a:ext uri="{FF2B5EF4-FFF2-40B4-BE49-F238E27FC236}">
                      <a16:creationId xmlns:a16="http://schemas.microsoft.com/office/drawing/2014/main" id="{E7F3BD5F-0E19-A74D-9FCF-FCE39778BB40}"/>
                    </a:ext>
                  </a:extLst>
                </p:cNvPr>
                <p:cNvPicPr/>
                <p:nvPr/>
              </p:nvPicPr>
              <p:blipFill>
                <a:blip r:embed="rId111"/>
                <a:stretch>
                  <a:fillRect/>
                </a:stretch>
              </p:blipFill>
              <p:spPr>
                <a:xfrm>
                  <a:off x="2232628" y="4975464"/>
                  <a:ext cx="66682"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146" name="Freihand 145">
                  <a:extLst>
                    <a:ext uri="{FF2B5EF4-FFF2-40B4-BE49-F238E27FC236}">
                      <a16:creationId xmlns:a16="http://schemas.microsoft.com/office/drawing/2014/main" id="{61744809-5C6F-9B08-618E-4DF7869FD2F5}"/>
                    </a:ext>
                  </a:extLst>
                </p14:cNvPr>
                <p14:cNvContentPartPr/>
                <p14:nvPr/>
              </p14:nvContentPartPr>
              <p14:xfrm>
                <a:off x="2248149" y="4979424"/>
                <a:ext cx="55080" cy="72000"/>
              </p14:xfrm>
            </p:contentPart>
          </mc:Choice>
          <mc:Fallback xmlns="">
            <p:pic>
              <p:nvPicPr>
                <p:cNvPr id="146" name="Freihand 145">
                  <a:extLst>
                    <a:ext uri="{FF2B5EF4-FFF2-40B4-BE49-F238E27FC236}">
                      <a16:creationId xmlns:a16="http://schemas.microsoft.com/office/drawing/2014/main" id="{61744809-5C6F-9B08-618E-4DF7869FD2F5}"/>
                    </a:ext>
                  </a:extLst>
                </p:cNvPr>
                <p:cNvPicPr/>
                <p:nvPr/>
              </p:nvPicPr>
              <p:blipFill>
                <a:blip r:embed="rId113"/>
                <a:stretch>
                  <a:fillRect/>
                </a:stretch>
              </p:blipFill>
              <p:spPr>
                <a:xfrm>
                  <a:off x="2242029" y="4973304"/>
                  <a:ext cx="67320" cy="8424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147" name="Freihand 146">
                  <a:extLst>
                    <a:ext uri="{FF2B5EF4-FFF2-40B4-BE49-F238E27FC236}">
                      <a16:creationId xmlns:a16="http://schemas.microsoft.com/office/drawing/2014/main" id="{0000201A-CF3C-A773-E764-0E8196AD6D06}"/>
                    </a:ext>
                  </a:extLst>
                </p14:cNvPr>
                <p14:cNvContentPartPr/>
                <p14:nvPr/>
              </p14:nvContentPartPr>
              <p14:xfrm>
                <a:off x="2248509" y="5004624"/>
                <a:ext cx="47520" cy="46440"/>
              </p14:xfrm>
            </p:contentPart>
          </mc:Choice>
          <mc:Fallback xmlns="">
            <p:pic>
              <p:nvPicPr>
                <p:cNvPr id="147" name="Freihand 146">
                  <a:extLst>
                    <a:ext uri="{FF2B5EF4-FFF2-40B4-BE49-F238E27FC236}">
                      <a16:creationId xmlns:a16="http://schemas.microsoft.com/office/drawing/2014/main" id="{0000201A-CF3C-A773-E764-0E8196AD6D06}"/>
                    </a:ext>
                  </a:extLst>
                </p:cNvPr>
                <p:cNvPicPr/>
                <p:nvPr/>
              </p:nvPicPr>
              <p:blipFill>
                <a:blip r:embed="rId115"/>
                <a:stretch>
                  <a:fillRect/>
                </a:stretch>
              </p:blipFill>
              <p:spPr>
                <a:xfrm>
                  <a:off x="2242435" y="4998456"/>
                  <a:ext cx="59668" cy="58776"/>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149" name="Freihand 148">
                  <a:extLst>
                    <a:ext uri="{FF2B5EF4-FFF2-40B4-BE49-F238E27FC236}">
                      <a16:creationId xmlns:a16="http://schemas.microsoft.com/office/drawing/2014/main" id="{214E3595-7E0B-2438-B641-3AB0696EDF24}"/>
                    </a:ext>
                  </a:extLst>
                </p14:cNvPr>
                <p14:cNvContentPartPr/>
                <p14:nvPr/>
              </p14:nvContentPartPr>
              <p14:xfrm>
                <a:off x="2241309" y="5015064"/>
                <a:ext cx="47160" cy="48240"/>
              </p14:xfrm>
            </p:contentPart>
          </mc:Choice>
          <mc:Fallback xmlns="">
            <p:pic>
              <p:nvPicPr>
                <p:cNvPr id="149" name="Freihand 148">
                  <a:extLst>
                    <a:ext uri="{FF2B5EF4-FFF2-40B4-BE49-F238E27FC236}">
                      <a16:creationId xmlns:a16="http://schemas.microsoft.com/office/drawing/2014/main" id="{214E3595-7E0B-2438-B641-3AB0696EDF24}"/>
                    </a:ext>
                  </a:extLst>
                </p:cNvPr>
                <p:cNvPicPr/>
                <p:nvPr/>
              </p:nvPicPr>
              <p:blipFill>
                <a:blip r:embed="rId117"/>
                <a:stretch>
                  <a:fillRect/>
                </a:stretch>
              </p:blipFill>
              <p:spPr>
                <a:xfrm>
                  <a:off x="2235189" y="5008944"/>
                  <a:ext cx="59400" cy="6048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150" name="Freihand 149">
                  <a:extLst>
                    <a:ext uri="{FF2B5EF4-FFF2-40B4-BE49-F238E27FC236}">
                      <a16:creationId xmlns:a16="http://schemas.microsoft.com/office/drawing/2014/main" id="{D88FB67C-3584-1F5C-E5D1-EDACECC5EA88}"/>
                    </a:ext>
                  </a:extLst>
                </p14:cNvPr>
                <p14:cNvContentPartPr/>
                <p14:nvPr/>
              </p14:nvContentPartPr>
              <p14:xfrm>
                <a:off x="2240949" y="5026944"/>
                <a:ext cx="38880" cy="34200"/>
              </p14:xfrm>
            </p:contentPart>
          </mc:Choice>
          <mc:Fallback xmlns="">
            <p:pic>
              <p:nvPicPr>
                <p:cNvPr id="150" name="Freihand 149">
                  <a:extLst>
                    <a:ext uri="{FF2B5EF4-FFF2-40B4-BE49-F238E27FC236}">
                      <a16:creationId xmlns:a16="http://schemas.microsoft.com/office/drawing/2014/main" id="{D88FB67C-3584-1F5C-E5D1-EDACECC5EA88}"/>
                    </a:ext>
                  </a:extLst>
                </p:cNvPr>
                <p:cNvPicPr/>
                <p:nvPr/>
              </p:nvPicPr>
              <p:blipFill>
                <a:blip r:embed="rId119"/>
                <a:stretch>
                  <a:fillRect/>
                </a:stretch>
              </p:blipFill>
              <p:spPr>
                <a:xfrm>
                  <a:off x="2234829" y="5020824"/>
                  <a:ext cx="51120" cy="46440"/>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154" name="Freihand 153">
                  <a:extLst>
                    <a:ext uri="{FF2B5EF4-FFF2-40B4-BE49-F238E27FC236}">
                      <a16:creationId xmlns:a16="http://schemas.microsoft.com/office/drawing/2014/main" id="{7575DA00-904D-BCF5-F462-E0CFD7C1A53C}"/>
                    </a:ext>
                  </a:extLst>
                </p14:cNvPr>
                <p14:cNvContentPartPr/>
                <p14:nvPr/>
              </p14:nvContentPartPr>
              <p14:xfrm>
                <a:off x="2232669" y="5028384"/>
                <a:ext cx="51480" cy="34200"/>
              </p14:xfrm>
            </p:contentPart>
          </mc:Choice>
          <mc:Fallback xmlns="">
            <p:pic>
              <p:nvPicPr>
                <p:cNvPr id="154" name="Freihand 153">
                  <a:extLst>
                    <a:ext uri="{FF2B5EF4-FFF2-40B4-BE49-F238E27FC236}">
                      <a16:creationId xmlns:a16="http://schemas.microsoft.com/office/drawing/2014/main" id="{7575DA00-904D-BCF5-F462-E0CFD7C1A53C}"/>
                    </a:ext>
                  </a:extLst>
                </p:cNvPr>
                <p:cNvPicPr/>
                <p:nvPr/>
              </p:nvPicPr>
              <p:blipFill>
                <a:blip r:embed="rId121"/>
                <a:stretch>
                  <a:fillRect/>
                </a:stretch>
              </p:blipFill>
              <p:spPr>
                <a:xfrm>
                  <a:off x="2226506" y="5022264"/>
                  <a:ext cx="63806" cy="4644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155" name="Freihand 154">
                  <a:extLst>
                    <a:ext uri="{FF2B5EF4-FFF2-40B4-BE49-F238E27FC236}">
                      <a16:creationId xmlns:a16="http://schemas.microsoft.com/office/drawing/2014/main" id="{3E56E2C7-2BE8-39AA-7444-7E922E5B1D4A}"/>
                    </a:ext>
                  </a:extLst>
                </p14:cNvPr>
                <p14:cNvContentPartPr/>
                <p14:nvPr/>
              </p14:nvContentPartPr>
              <p14:xfrm>
                <a:off x="2238789" y="5012904"/>
                <a:ext cx="51840" cy="48240"/>
              </p14:xfrm>
            </p:contentPart>
          </mc:Choice>
          <mc:Fallback xmlns="">
            <p:pic>
              <p:nvPicPr>
                <p:cNvPr id="155" name="Freihand 154">
                  <a:extLst>
                    <a:ext uri="{FF2B5EF4-FFF2-40B4-BE49-F238E27FC236}">
                      <a16:creationId xmlns:a16="http://schemas.microsoft.com/office/drawing/2014/main" id="{3E56E2C7-2BE8-39AA-7444-7E922E5B1D4A}"/>
                    </a:ext>
                  </a:extLst>
                </p:cNvPr>
                <p:cNvPicPr/>
                <p:nvPr/>
              </p:nvPicPr>
              <p:blipFill>
                <a:blip r:embed="rId123"/>
                <a:stretch>
                  <a:fillRect/>
                </a:stretch>
              </p:blipFill>
              <p:spPr>
                <a:xfrm>
                  <a:off x="2232669" y="5006784"/>
                  <a:ext cx="64080" cy="6048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156" name="Freihand 155">
                  <a:extLst>
                    <a:ext uri="{FF2B5EF4-FFF2-40B4-BE49-F238E27FC236}">
                      <a16:creationId xmlns:a16="http://schemas.microsoft.com/office/drawing/2014/main" id="{C3A913D8-8B89-8EBB-3DA2-738329E5426D}"/>
                    </a:ext>
                  </a:extLst>
                </p14:cNvPr>
                <p14:cNvContentPartPr/>
                <p14:nvPr/>
              </p14:nvContentPartPr>
              <p14:xfrm>
                <a:off x="2239509" y="5008944"/>
                <a:ext cx="52200" cy="54000"/>
              </p14:xfrm>
            </p:contentPart>
          </mc:Choice>
          <mc:Fallback xmlns="">
            <p:pic>
              <p:nvPicPr>
                <p:cNvPr id="156" name="Freihand 155">
                  <a:extLst>
                    <a:ext uri="{FF2B5EF4-FFF2-40B4-BE49-F238E27FC236}">
                      <a16:creationId xmlns:a16="http://schemas.microsoft.com/office/drawing/2014/main" id="{C3A913D8-8B89-8EBB-3DA2-738329E5426D}"/>
                    </a:ext>
                  </a:extLst>
                </p:cNvPr>
                <p:cNvPicPr/>
                <p:nvPr/>
              </p:nvPicPr>
              <p:blipFill>
                <a:blip r:embed="rId125"/>
                <a:stretch>
                  <a:fillRect/>
                </a:stretch>
              </p:blipFill>
              <p:spPr>
                <a:xfrm>
                  <a:off x="2233389" y="5002824"/>
                  <a:ext cx="6444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126">
              <p14:nvContentPartPr>
                <p14:cNvPr id="158" name="Freihand 157">
                  <a:extLst>
                    <a:ext uri="{FF2B5EF4-FFF2-40B4-BE49-F238E27FC236}">
                      <a16:creationId xmlns:a16="http://schemas.microsoft.com/office/drawing/2014/main" id="{1C087E59-40FD-4F67-4D55-8BC40036D274}"/>
                    </a:ext>
                  </a:extLst>
                </p14:cNvPr>
                <p14:cNvContentPartPr/>
                <p14:nvPr/>
              </p14:nvContentPartPr>
              <p14:xfrm>
                <a:off x="2247069" y="5019384"/>
                <a:ext cx="42480" cy="40320"/>
              </p14:xfrm>
            </p:contentPart>
          </mc:Choice>
          <mc:Fallback xmlns="">
            <p:pic>
              <p:nvPicPr>
                <p:cNvPr id="158" name="Freihand 157">
                  <a:extLst>
                    <a:ext uri="{FF2B5EF4-FFF2-40B4-BE49-F238E27FC236}">
                      <a16:creationId xmlns:a16="http://schemas.microsoft.com/office/drawing/2014/main" id="{1C087E59-40FD-4F67-4D55-8BC40036D274}"/>
                    </a:ext>
                  </a:extLst>
                </p:cNvPr>
                <p:cNvPicPr/>
                <p:nvPr/>
              </p:nvPicPr>
              <p:blipFill>
                <a:blip r:embed="rId127"/>
                <a:stretch>
                  <a:fillRect/>
                </a:stretch>
              </p:blipFill>
              <p:spPr>
                <a:xfrm>
                  <a:off x="2240949" y="5013264"/>
                  <a:ext cx="54720" cy="52560"/>
                </a:xfrm>
                <a:prstGeom prst="rect">
                  <a:avLst/>
                </a:prstGeom>
              </p:spPr>
            </p:pic>
          </mc:Fallback>
        </mc:AlternateContent>
        <mc:AlternateContent xmlns:mc="http://schemas.openxmlformats.org/markup-compatibility/2006" xmlns:p14="http://schemas.microsoft.com/office/powerpoint/2010/main">
          <mc:Choice Requires="p14">
            <p:contentPart p14:bwMode="auto" r:id="rId128">
              <p14:nvContentPartPr>
                <p14:cNvPr id="160" name="Freihand 159">
                  <a:extLst>
                    <a:ext uri="{FF2B5EF4-FFF2-40B4-BE49-F238E27FC236}">
                      <a16:creationId xmlns:a16="http://schemas.microsoft.com/office/drawing/2014/main" id="{251F7C78-E5BA-EA05-54E5-07C9A5CA11A9}"/>
                    </a:ext>
                  </a:extLst>
                </p14:cNvPr>
                <p14:cNvContentPartPr/>
                <p14:nvPr/>
              </p14:nvContentPartPr>
              <p14:xfrm>
                <a:off x="2548389" y="4889064"/>
                <a:ext cx="60480" cy="19800"/>
              </p14:xfrm>
            </p:contentPart>
          </mc:Choice>
          <mc:Fallback xmlns="">
            <p:pic>
              <p:nvPicPr>
                <p:cNvPr id="160" name="Freihand 159">
                  <a:extLst>
                    <a:ext uri="{FF2B5EF4-FFF2-40B4-BE49-F238E27FC236}">
                      <a16:creationId xmlns:a16="http://schemas.microsoft.com/office/drawing/2014/main" id="{251F7C78-E5BA-EA05-54E5-07C9A5CA11A9}"/>
                    </a:ext>
                  </a:extLst>
                </p:cNvPr>
                <p:cNvPicPr/>
                <p:nvPr/>
              </p:nvPicPr>
              <p:blipFill>
                <a:blip r:embed="rId129"/>
                <a:stretch>
                  <a:fillRect/>
                </a:stretch>
              </p:blipFill>
              <p:spPr>
                <a:xfrm>
                  <a:off x="2542305" y="4882831"/>
                  <a:ext cx="72648" cy="32267"/>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162" name="Freihand 161">
                  <a:extLst>
                    <a:ext uri="{FF2B5EF4-FFF2-40B4-BE49-F238E27FC236}">
                      <a16:creationId xmlns:a16="http://schemas.microsoft.com/office/drawing/2014/main" id="{A6116C2F-9411-FDE8-D287-42DDE4E8D544}"/>
                    </a:ext>
                  </a:extLst>
                </p14:cNvPr>
                <p14:cNvContentPartPr/>
                <p14:nvPr/>
              </p14:nvContentPartPr>
              <p14:xfrm>
                <a:off x="2546589" y="4892304"/>
                <a:ext cx="56520" cy="36360"/>
              </p14:xfrm>
            </p:contentPart>
          </mc:Choice>
          <mc:Fallback xmlns="">
            <p:pic>
              <p:nvPicPr>
                <p:cNvPr id="162" name="Freihand 161">
                  <a:extLst>
                    <a:ext uri="{FF2B5EF4-FFF2-40B4-BE49-F238E27FC236}">
                      <a16:creationId xmlns:a16="http://schemas.microsoft.com/office/drawing/2014/main" id="{A6116C2F-9411-FDE8-D287-42DDE4E8D544}"/>
                    </a:ext>
                  </a:extLst>
                </p:cNvPr>
                <p:cNvPicPr/>
                <p:nvPr/>
              </p:nvPicPr>
              <p:blipFill>
                <a:blip r:embed="rId131"/>
                <a:stretch>
                  <a:fillRect/>
                </a:stretch>
              </p:blipFill>
              <p:spPr>
                <a:xfrm>
                  <a:off x="2540469" y="4886184"/>
                  <a:ext cx="68760" cy="48600"/>
                </a:xfrm>
                <a:prstGeom prst="rect">
                  <a:avLst/>
                </a:prstGeom>
              </p:spPr>
            </p:pic>
          </mc:Fallback>
        </mc:AlternateContent>
      </p:grpSp>
      <p:sp>
        <p:nvSpPr>
          <p:cNvPr id="164" name="Pfeil: nach unten 163">
            <a:extLst>
              <a:ext uri="{FF2B5EF4-FFF2-40B4-BE49-F238E27FC236}">
                <a16:creationId xmlns:a16="http://schemas.microsoft.com/office/drawing/2014/main" id="{A739E67D-F5AF-7943-8ACD-8E07067279ED}"/>
              </a:ext>
            </a:extLst>
          </p:cNvPr>
          <p:cNvSpPr/>
          <p:nvPr/>
        </p:nvSpPr>
        <p:spPr>
          <a:xfrm>
            <a:off x="2233820" y="3601742"/>
            <a:ext cx="208671" cy="921643"/>
          </a:xfrm>
          <a:prstGeom prst="downArrow">
            <a:avLst/>
          </a:prstGeom>
          <a:solidFill>
            <a:srgbClr val="807F8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de-DE" err="1"/>
          </a:p>
        </p:txBody>
      </p:sp>
      <p:sp>
        <p:nvSpPr>
          <p:cNvPr id="165" name="Pfeil: nach unten 164">
            <a:extLst>
              <a:ext uri="{FF2B5EF4-FFF2-40B4-BE49-F238E27FC236}">
                <a16:creationId xmlns:a16="http://schemas.microsoft.com/office/drawing/2014/main" id="{5C5B5C17-7CD2-3790-F9BF-6498F61064D8}"/>
              </a:ext>
            </a:extLst>
          </p:cNvPr>
          <p:cNvSpPr/>
          <p:nvPr/>
        </p:nvSpPr>
        <p:spPr>
          <a:xfrm>
            <a:off x="4769050" y="3606617"/>
            <a:ext cx="208671" cy="921643"/>
          </a:xfrm>
          <a:prstGeom prst="downArrow">
            <a:avLst/>
          </a:prstGeom>
          <a:solidFill>
            <a:srgbClr val="807F8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de-DE" err="1"/>
          </a:p>
        </p:txBody>
      </p:sp>
      <p:sp>
        <p:nvSpPr>
          <p:cNvPr id="166" name="Textfeld 165">
            <a:extLst>
              <a:ext uri="{FF2B5EF4-FFF2-40B4-BE49-F238E27FC236}">
                <a16:creationId xmlns:a16="http://schemas.microsoft.com/office/drawing/2014/main" id="{A2C68434-B61B-FCD1-F387-E563DF1B7F91}"/>
              </a:ext>
            </a:extLst>
          </p:cNvPr>
          <p:cNvSpPr txBox="1"/>
          <p:nvPr/>
        </p:nvSpPr>
        <p:spPr>
          <a:xfrm>
            <a:off x="2575979" y="4131710"/>
            <a:ext cx="2108881" cy="294635"/>
          </a:xfrm>
          <a:prstGeom prst="rect">
            <a:avLst/>
          </a:prstGeom>
          <a:solidFill>
            <a:schemeClr val="bg1"/>
          </a:solidFill>
        </p:spPr>
        <p:txBody>
          <a:bodyPr wrap="square" lIns="0" tIns="0" rIns="0" bIns="0" rtlCol="0">
            <a:noAutofit/>
          </a:bodyPr>
          <a:lstStyle/>
          <a:p>
            <a:pPr algn="ctr">
              <a:lnSpc>
                <a:spcPct val="110000"/>
              </a:lnSpc>
              <a:spcAft>
                <a:spcPts val="1000"/>
              </a:spcAft>
            </a:pPr>
            <a:r>
              <a:rPr lang="de-DE" sz="800" b="1" i="1">
                <a:solidFill>
                  <a:schemeClr val="tx2">
                    <a:lumMod val="75000"/>
                  </a:schemeClr>
                </a:solidFill>
              </a:rPr>
              <a:t>Anwendung der </a:t>
            </a:r>
            <a:r>
              <a:rPr lang="de-DE" sz="800" b="1" i="1" err="1">
                <a:solidFill>
                  <a:schemeClr val="tx2">
                    <a:lumMod val="75000"/>
                  </a:schemeClr>
                </a:solidFill>
              </a:rPr>
              <a:t>mean-function</a:t>
            </a:r>
            <a:r>
              <a:rPr lang="de-DE" sz="800" b="1" i="1">
                <a:solidFill>
                  <a:schemeClr val="tx2">
                    <a:lumMod val="75000"/>
                  </a:schemeClr>
                </a:solidFill>
              </a:rPr>
              <a:t> zur Anpassung der gefundenen Intervalle</a:t>
            </a:r>
          </a:p>
        </p:txBody>
      </p:sp>
      <p:sp>
        <p:nvSpPr>
          <p:cNvPr id="167" name="Textfeld 166">
            <a:extLst>
              <a:ext uri="{FF2B5EF4-FFF2-40B4-BE49-F238E27FC236}">
                <a16:creationId xmlns:a16="http://schemas.microsoft.com/office/drawing/2014/main" id="{98D87C2E-DA3B-4EF4-BA83-9CD1944F4B6D}"/>
              </a:ext>
            </a:extLst>
          </p:cNvPr>
          <p:cNvSpPr txBox="1"/>
          <p:nvPr/>
        </p:nvSpPr>
        <p:spPr>
          <a:xfrm>
            <a:off x="1252337" y="2394171"/>
            <a:ext cx="900001" cy="294635"/>
          </a:xfrm>
          <a:prstGeom prst="rect">
            <a:avLst/>
          </a:prstGeom>
          <a:noFill/>
        </p:spPr>
        <p:txBody>
          <a:bodyPr wrap="square" lIns="0" tIns="0" rIns="0" bIns="0" rtlCol="0">
            <a:noAutofit/>
          </a:bodyPr>
          <a:lstStyle/>
          <a:p>
            <a:pPr algn="ctr">
              <a:lnSpc>
                <a:spcPct val="110000"/>
              </a:lnSpc>
              <a:spcAft>
                <a:spcPts val="1000"/>
              </a:spcAft>
            </a:pPr>
            <a:r>
              <a:rPr lang="de-DE" sz="800" b="1" i="1">
                <a:solidFill>
                  <a:srgbClr val="807F84"/>
                </a:solidFill>
              </a:rPr>
              <a:t>Grad-Cam</a:t>
            </a:r>
          </a:p>
        </p:txBody>
      </p:sp>
      <p:sp>
        <p:nvSpPr>
          <p:cNvPr id="168" name="Textfeld 167">
            <a:extLst>
              <a:ext uri="{FF2B5EF4-FFF2-40B4-BE49-F238E27FC236}">
                <a16:creationId xmlns:a16="http://schemas.microsoft.com/office/drawing/2014/main" id="{50FEFD02-4ED7-A06C-1B8D-3DA80DDE766F}"/>
              </a:ext>
            </a:extLst>
          </p:cNvPr>
          <p:cNvSpPr txBox="1"/>
          <p:nvPr/>
        </p:nvSpPr>
        <p:spPr>
          <a:xfrm>
            <a:off x="3819502" y="2414027"/>
            <a:ext cx="900001" cy="294635"/>
          </a:xfrm>
          <a:prstGeom prst="rect">
            <a:avLst/>
          </a:prstGeom>
          <a:noFill/>
        </p:spPr>
        <p:txBody>
          <a:bodyPr wrap="square" lIns="0" tIns="0" rIns="0" bIns="0" rtlCol="0">
            <a:noAutofit/>
          </a:bodyPr>
          <a:lstStyle/>
          <a:p>
            <a:pPr algn="ctr">
              <a:lnSpc>
                <a:spcPct val="110000"/>
              </a:lnSpc>
              <a:spcAft>
                <a:spcPts val="1000"/>
              </a:spcAft>
            </a:pPr>
            <a:r>
              <a:rPr lang="de-DE" sz="800" b="1" i="1">
                <a:solidFill>
                  <a:srgbClr val="807F84"/>
                </a:solidFill>
              </a:rPr>
              <a:t>Pattern </a:t>
            </a:r>
            <a:r>
              <a:rPr lang="de-DE" sz="800" b="1" i="1" err="1">
                <a:solidFill>
                  <a:srgbClr val="807F84"/>
                </a:solidFill>
              </a:rPr>
              <a:t>Extraction</a:t>
            </a:r>
            <a:endParaRPr lang="de-DE" sz="800" b="1" i="1">
              <a:solidFill>
                <a:srgbClr val="807F84"/>
              </a:solidFill>
            </a:endParaRPr>
          </a:p>
        </p:txBody>
      </p:sp>
    </p:spTree>
    <p:extLst>
      <p:ext uri="{BB962C8B-B14F-4D97-AF65-F5344CB8AC3E}">
        <p14:creationId xmlns:p14="http://schemas.microsoft.com/office/powerpoint/2010/main" val="25040447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489DD5-745D-DB6D-1988-13093E278248}"/>
            </a:ext>
          </a:extLst>
        </p:cNvPr>
        <p:cNvGrpSpPr/>
        <p:nvPr/>
      </p:nvGrpSpPr>
      <p:grpSpPr>
        <a:xfrm>
          <a:off x="0" y="0"/>
          <a:ext cx="0" cy="0"/>
          <a:chOff x="0" y="0"/>
          <a:chExt cx="0" cy="0"/>
        </a:xfrm>
      </p:grpSpPr>
      <p:sp>
        <p:nvSpPr>
          <p:cNvPr id="94" name="Rechteckiger Pfeil 104">
            <a:extLst>
              <a:ext uri="{FF2B5EF4-FFF2-40B4-BE49-F238E27FC236}">
                <a16:creationId xmlns:a16="http://schemas.microsoft.com/office/drawing/2014/main" id="{20C93428-0ADD-5B7E-1A32-D1ED900182DD}"/>
              </a:ext>
            </a:extLst>
          </p:cNvPr>
          <p:cNvSpPr/>
          <p:nvPr/>
        </p:nvSpPr>
        <p:spPr>
          <a:xfrm>
            <a:off x="7666196" y="3292542"/>
            <a:ext cx="517654" cy="973066"/>
          </a:xfrm>
          <a:prstGeom prst="bentArrow">
            <a:avLst>
              <a:gd name="adj1" fmla="val 27254"/>
              <a:gd name="adj2" fmla="val 24512"/>
              <a:gd name="adj3" fmla="val 23736"/>
              <a:gd name="adj4" fmla="val 39959"/>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graphicFrame>
        <p:nvGraphicFramePr>
          <p:cNvPr id="6" name="think-cell data - do not delete" hidden="1">
            <a:extLst>
              <a:ext uri="{FF2B5EF4-FFF2-40B4-BE49-F238E27FC236}">
                <a16:creationId xmlns:a16="http://schemas.microsoft.com/office/drawing/2014/main" id="{0128B79C-3460-97AC-4B49-0ED45D9C1CF1}"/>
              </a:ext>
            </a:extLst>
          </p:cNvPr>
          <p:cNvGraphicFramePr>
            <a:graphicFrameLocks noChangeAspect="1"/>
          </p:cNvGraphicFramePr>
          <p:nvPr>
            <p:custDataLst>
              <p:tags r:id="rId1"/>
            </p:custDataLst>
            <p:extLst>
              <p:ext uri="{D42A27DB-BD31-4B8C-83A1-F6EECF244321}">
                <p14:modId xmlns:p14="http://schemas.microsoft.com/office/powerpoint/2010/main" val="32895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6" name="think-cell data - do not delete" hidden="1">
                        <a:extLst>
                          <a:ext uri="{FF2B5EF4-FFF2-40B4-BE49-F238E27FC236}">
                            <a16:creationId xmlns:a16="http://schemas.microsoft.com/office/drawing/2014/main" id="{0128B79C-3460-97AC-4B49-0ED45D9C1C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 name="Rechteckiger Pfeil 104">
            <a:extLst>
              <a:ext uri="{FF2B5EF4-FFF2-40B4-BE49-F238E27FC236}">
                <a16:creationId xmlns:a16="http://schemas.microsoft.com/office/drawing/2014/main" id="{EB1289B3-1C56-65F1-4CE2-D738AF9A8920}"/>
              </a:ext>
            </a:extLst>
          </p:cNvPr>
          <p:cNvSpPr/>
          <p:nvPr/>
        </p:nvSpPr>
        <p:spPr>
          <a:xfrm flipV="1">
            <a:off x="7632593" y="2158560"/>
            <a:ext cx="533720" cy="930733"/>
          </a:xfrm>
          <a:prstGeom prst="bentArrow">
            <a:avLst>
              <a:gd name="adj1" fmla="val 27254"/>
              <a:gd name="adj2" fmla="val 24512"/>
              <a:gd name="adj3" fmla="val 23736"/>
              <a:gd name="adj4" fmla="val 39959"/>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sp>
        <p:nvSpPr>
          <p:cNvPr id="106" name="Rechteckiger Pfeil 105">
            <a:extLst>
              <a:ext uri="{FF2B5EF4-FFF2-40B4-BE49-F238E27FC236}">
                <a16:creationId xmlns:a16="http://schemas.microsoft.com/office/drawing/2014/main" id="{D531F03B-94D3-8511-12A4-4A1CC7E7947B}"/>
              </a:ext>
            </a:extLst>
          </p:cNvPr>
          <p:cNvSpPr/>
          <p:nvPr/>
        </p:nvSpPr>
        <p:spPr>
          <a:xfrm flipV="1">
            <a:off x="4004471" y="3645714"/>
            <a:ext cx="2575298" cy="1356233"/>
          </a:xfrm>
          <a:prstGeom prst="bentArrow">
            <a:avLst>
              <a:gd name="adj1" fmla="val 7640"/>
              <a:gd name="adj2" fmla="val 7861"/>
              <a:gd name="adj3" fmla="val 14546"/>
              <a:gd name="adj4" fmla="val 39959"/>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sp>
        <p:nvSpPr>
          <p:cNvPr id="107" name="Rechteckiger Pfeil 106">
            <a:extLst>
              <a:ext uri="{FF2B5EF4-FFF2-40B4-BE49-F238E27FC236}">
                <a16:creationId xmlns:a16="http://schemas.microsoft.com/office/drawing/2014/main" id="{1D50211B-D01D-8826-EC22-C1FB684142D2}"/>
              </a:ext>
            </a:extLst>
          </p:cNvPr>
          <p:cNvSpPr/>
          <p:nvPr/>
        </p:nvSpPr>
        <p:spPr>
          <a:xfrm>
            <a:off x="5577545" y="1809021"/>
            <a:ext cx="1026105" cy="1017495"/>
          </a:xfrm>
          <a:prstGeom prst="bentArrow">
            <a:avLst>
              <a:gd name="adj1" fmla="val 11849"/>
              <a:gd name="adj2" fmla="val 10044"/>
              <a:gd name="adj3" fmla="val 12115"/>
              <a:gd name="adj4" fmla="val 39959"/>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sp>
        <p:nvSpPr>
          <p:cNvPr id="111" name="Pfeil nach rechts 110">
            <a:extLst>
              <a:ext uri="{FF2B5EF4-FFF2-40B4-BE49-F238E27FC236}">
                <a16:creationId xmlns:a16="http://schemas.microsoft.com/office/drawing/2014/main" id="{2F04CA1E-5B52-9F92-AE99-85CA800B589E}"/>
              </a:ext>
            </a:extLst>
          </p:cNvPr>
          <p:cNvSpPr/>
          <p:nvPr/>
        </p:nvSpPr>
        <p:spPr>
          <a:xfrm>
            <a:off x="4132023" y="3179704"/>
            <a:ext cx="890231" cy="211156"/>
          </a:xfrm>
          <a:prstGeom prst="rightArrow">
            <a:avLst>
              <a:gd name="adj1" fmla="val 50000"/>
              <a:gd name="adj2" fmla="val 72276"/>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3" name="Datumsplatzhalter 2">
            <a:extLst>
              <a:ext uri="{FF2B5EF4-FFF2-40B4-BE49-F238E27FC236}">
                <a16:creationId xmlns:a16="http://schemas.microsoft.com/office/drawing/2014/main" id="{B80F3F17-B5FC-6498-1F58-BB65F3B3F65F}"/>
              </a:ext>
            </a:extLst>
          </p:cNvPr>
          <p:cNvSpPr>
            <a:spLocks noGrp="1"/>
          </p:cNvSpPr>
          <p:nvPr>
            <p:ph type="dt" sz="half" idx="19"/>
          </p:nvPr>
        </p:nvSpPr>
        <p:spPr/>
        <p:txBody>
          <a:bodyPr/>
          <a:lstStyle/>
          <a:p>
            <a:fld id="{469FAAA5-EE5E-4762-B607-2A32CDA2AED9}" type="datetime1">
              <a:rPr lang="de-DE" noProof="0" smtClean="0"/>
              <a:t>15.01.2025</a:t>
            </a:fld>
            <a:endParaRPr lang="de-DE" noProof="0"/>
          </a:p>
        </p:txBody>
      </p:sp>
      <p:sp>
        <p:nvSpPr>
          <p:cNvPr id="4" name="Fußzeilenplatzhalter 3">
            <a:extLst>
              <a:ext uri="{FF2B5EF4-FFF2-40B4-BE49-F238E27FC236}">
                <a16:creationId xmlns:a16="http://schemas.microsoft.com/office/drawing/2014/main" id="{6F7417A8-147D-F9AB-16D2-FCA9D2F605A3}"/>
              </a:ext>
            </a:extLst>
          </p:cNvPr>
          <p:cNvSpPr>
            <a:spLocks noGrp="1"/>
          </p:cNvSpPr>
          <p:nvPr>
            <p:ph type="ftr" sz="quarter" idx="20"/>
          </p:nvPr>
        </p:nvSpPr>
        <p:spPr/>
        <p:txBody>
          <a:bodyPr/>
          <a:lstStyle/>
          <a:p>
            <a:r>
              <a:rPr lang="de-DE" noProof="0"/>
              <a:t>FZI Forschungszentrum Informatik</a:t>
            </a:r>
          </a:p>
        </p:txBody>
      </p:sp>
      <p:sp>
        <p:nvSpPr>
          <p:cNvPr id="5" name="Foliennummernplatzhalter 4">
            <a:extLst>
              <a:ext uri="{FF2B5EF4-FFF2-40B4-BE49-F238E27FC236}">
                <a16:creationId xmlns:a16="http://schemas.microsoft.com/office/drawing/2014/main" id="{68130889-641C-D617-533D-21FD95166BA9}"/>
              </a:ext>
            </a:extLst>
          </p:cNvPr>
          <p:cNvSpPr>
            <a:spLocks noGrp="1"/>
          </p:cNvSpPr>
          <p:nvPr>
            <p:ph type="sldNum" sz="quarter" idx="21"/>
          </p:nvPr>
        </p:nvSpPr>
        <p:spPr/>
        <p:txBody>
          <a:bodyPr/>
          <a:lstStyle/>
          <a:p>
            <a:fld id="{02CEFE82-39F2-4F47-8A0C-D5AB3496FA5C}" type="slidenum">
              <a:rPr lang="de-DE" noProof="0" smtClean="0"/>
              <a:t>13</a:t>
            </a:fld>
            <a:endParaRPr lang="de-DE" noProof="0"/>
          </a:p>
        </p:txBody>
      </p:sp>
      <p:sp>
        <p:nvSpPr>
          <p:cNvPr id="49" name="Textfeld 48">
            <a:extLst>
              <a:ext uri="{FF2B5EF4-FFF2-40B4-BE49-F238E27FC236}">
                <a16:creationId xmlns:a16="http://schemas.microsoft.com/office/drawing/2014/main" id="{8EE4779E-FBFC-EB34-87F0-2AD43A38617C}"/>
              </a:ext>
            </a:extLst>
          </p:cNvPr>
          <p:cNvSpPr txBox="1"/>
          <p:nvPr/>
        </p:nvSpPr>
        <p:spPr>
          <a:xfrm>
            <a:off x="1879839" y="5552182"/>
            <a:ext cx="9302547" cy="369332"/>
          </a:xfrm>
          <a:prstGeom prst="rect">
            <a:avLst/>
          </a:prstGeom>
          <a:noFill/>
        </p:spPr>
        <p:txBody>
          <a:bodyPr wrap="none" rtlCol="0">
            <a:spAutoFit/>
          </a:bodyPr>
          <a:lstStyle/>
          <a:p>
            <a:r>
              <a:rPr lang="de-DE" b="1"/>
              <a:t>Forschungsfrage: </a:t>
            </a:r>
            <a:r>
              <a:rPr lang="de-DE"/>
              <a:t>Können Pattern </a:t>
            </a:r>
            <a:r>
              <a:rPr lang="de-DE" err="1"/>
              <a:t>Extractors</a:t>
            </a:r>
            <a:r>
              <a:rPr lang="de-DE"/>
              <a:t> für das Modell relevante Bereiche finden? </a:t>
            </a:r>
          </a:p>
        </p:txBody>
      </p:sp>
      <p:sp>
        <p:nvSpPr>
          <p:cNvPr id="2" name="Titel 4">
            <a:extLst>
              <a:ext uri="{FF2B5EF4-FFF2-40B4-BE49-F238E27FC236}">
                <a16:creationId xmlns:a16="http://schemas.microsoft.com/office/drawing/2014/main" id="{7B24C839-1FC9-E19E-6BEA-BEA59335644E}"/>
              </a:ext>
            </a:extLst>
          </p:cNvPr>
          <p:cNvSpPr>
            <a:spLocks noGrp="1"/>
          </p:cNvSpPr>
          <p:nvPr>
            <p:ph type="title"/>
          </p:nvPr>
        </p:nvSpPr>
        <p:spPr>
          <a:xfrm>
            <a:off x="540000" y="432000"/>
            <a:ext cx="10232222" cy="539685"/>
          </a:xfrm>
        </p:spPr>
        <p:txBody>
          <a:bodyPr vert="horz"/>
          <a:lstStyle/>
          <a:p>
            <a:r>
              <a:rPr lang="de-DE"/>
              <a:t>Konzept</a:t>
            </a:r>
          </a:p>
        </p:txBody>
      </p:sp>
      <p:sp>
        <p:nvSpPr>
          <p:cNvPr id="17" name="Abgerundetes Rechteck 16">
            <a:extLst>
              <a:ext uri="{FF2B5EF4-FFF2-40B4-BE49-F238E27FC236}">
                <a16:creationId xmlns:a16="http://schemas.microsoft.com/office/drawing/2014/main" id="{E471F715-E5AC-2FF6-7AC3-3D613ADB405C}"/>
              </a:ext>
            </a:extLst>
          </p:cNvPr>
          <p:cNvSpPr/>
          <p:nvPr/>
        </p:nvSpPr>
        <p:spPr>
          <a:xfrm>
            <a:off x="5025849" y="2754898"/>
            <a:ext cx="2723410" cy="973068"/>
          </a:xfrm>
          <a:prstGeom prst="roundRect">
            <a:avLst/>
          </a:prstGeom>
          <a:solidFill>
            <a:schemeClr val="accent2">
              <a:lumMod val="20000"/>
              <a:lumOff val="80000"/>
            </a:schemeClr>
          </a:solidFill>
          <a:ln w="254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8" name="Textfeld 17">
            <a:extLst>
              <a:ext uri="{FF2B5EF4-FFF2-40B4-BE49-F238E27FC236}">
                <a16:creationId xmlns:a16="http://schemas.microsoft.com/office/drawing/2014/main" id="{1E607776-6CAC-992C-7E00-C83F74E7926D}"/>
              </a:ext>
            </a:extLst>
          </p:cNvPr>
          <p:cNvSpPr txBox="1"/>
          <p:nvPr/>
        </p:nvSpPr>
        <p:spPr>
          <a:xfrm>
            <a:off x="5097594" y="2819027"/>
            <a:ext cx="1568058" cy="253916"/>
          </a:xfrm>
          <a:prstGeom prst="rect">
            <a:avLst/>
          </a:prstGeom>
          <a:noFill/>
        </p:spPr>
        <p:txBody>
          <a:bodyPr wrap="none" rtlCol="0">
            <a:spAutoFit/>
          </a:bodyPr>
          <a:lstStyle/>
          <a:p>
            <a:r>
              <a:rPr lang="de-DE" sz="1050" b="1"/>
              <a:t>Klassifikationsmodell</a:t>
            </a:r>
          </a:p>
        </p:txBody>
      </p:sp>
      <p:sp>
        <p:nvSpPr>
          <p:cNvPr id="19" name="Rechteck 18">
            <a:extLst>
              <a:ext uri="{FF2B5EF4-FFF2-40B4-BE49-F238E27FC236}">
                <a16:creationId xmlns:a16="http://schemas.microsoft.com/office/drawing/2014/main" id="{D43B1A52-E8F6-5E0E-4BC1-561DF7993A52}"/>
              </a:ext>
            </a:extLst>
          </p:cNvPr>
          <p:cNvSpPr/>
          <p:nvPr/>
        </p:nvSpPr>
        <p:spPr>
          <a:xfrm>
            <a:off x="5167876" y="3064078"/>
            <a:ext cx="684744" cy="177354"/>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LSTM</a:t>
            </a:r>
          </a:p>
        </p:txBody>
      </p:sp>
      <p:sp>
        <p:nvSpPr>
          <p:cNvPr id="20" name="Rechteck 19">
            <a:extLst>
              <a:ext uri="{FF2B5EF4-FFF2-40B4-BE49-F238E27FC236}">
                <a16:creationId xmlns:a16="http://schemas.microsoft.com/office/drawing/2014/main" id="{FAC49C49-B25B-D104-9F6A-D8F0154691E9}"/>
              </a:ext>
            </a:extLst>
          </p:cNvPr>
          <p:cNvSpPr/>
          <p:nvPr/>
        </p:nvSpPr>
        <p:spPr>
          <a:xfrm>
            <a:off x="6054324" y="3064078"/>
            <a:ext cx="684744" cy="17735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CNN</a:t>
            </a:r>
          </a:p>
        </p:txBody>
      </p:sp>
      <p:sp>
        <p:nvSpPr>
          <p:cNvPr id="21" name="Rechteck 20">
            <a:extLst>
              <a:ext uri="{FF2B5EF4-FFF2-40B4-BE49-F238E27FC236}">
                <a16:creationId xmlns:a16="http://schemas.microsoft.com/office/drawing/2014/main" id="{803CACBA-CBDB-58F7-6A15-804EE1DC7000}"/>
              </a:ext>
            </a:extLst>
          </p:cNvPr>
          <p:cNvSpPr/>
          <p:nvPr/>
        </p:nvSpPr>
        <p:spPr>
          <a:xfrm>
            <a:off x="6940771" y="3064078"/>
            <a:ext cx="684744" cy="177354"/>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MLP</a:t>
            </a:r>
          </a:p>
        </p:txBody>
      </p:sp>
      <p:sp>
        <p:nvSpPr>
          <p:cNvPr id="23" name="Textfeld 22">
            <a:extLst>
              <a:ext uri="{FF2B5EF4-FFF2-40B4-BE49-F238E27FC236}">
                <a16:creationId xmlns:a16="http://schemas.microsoft.com/office/drawing/2014/main" id="{717AAE2A-F0D7-288C-4820-2CE3A6384FE7}"/>
              </a:ext>
            </a:extLst>
          </p:cNvPr>
          <p:cNvSpPr txBox="1"/>
          <p:nvPr/>
        </p:nvSpPr>
        <p:spPr>
          <a:xfrm>
            <a:off x="5342234" y="3316665"/>
            <a:ext cx="2090637" cy="400110"/>
          </a:xfrm>
          <a:prstGeom prst="rect">
            <a:avLst/>
          </a:prstGeom>
          <a:noFill/>
        </p:spPr>
        <p:txBody>
          <a:bodyPr wrap="none" rtlCol="0">
            <a:spAutoFit/>
          </a:bodyPr>
          <a:lstStyle/>
          <a:p>
            <a:pPr algn="ctr"/>
            <a:r>
              <a:rPr lang="de-DE" sz="1000" i="1"/>
              <a:t>Liefert als Black-Box-Modell </a:t>
            </a:r>
          </a:p>
          <a:p>
            <a:pPr algn="ctr"/>
            <a:r>
              <a:rPr lang="de-DE" sz="1000" i="1"/>
              <a:t>Klassifikation von Zeitreihendaten</a:t>
            </a:r>
          </a:p>
        </p:txBody>
      </p:sp>
      <p:sp>
        <p:nvSpPr>
          <p:cNvPr id="26" name="Abgerundetes Rechteck 25">
            <a:extLst>
              <a:ext uri="{FF2B5EF4-FFF2-40B4-BE49-F238E27FC236}">
                <a16:creationId xmlns:a16="http://schemas.microsoft.com/office/drawing/2014/main" id="{C79CBC29-01A0-AB6E-EAB8-87476E011B97}"/>
              </a:ext>
            </a:extLst>
          </p:cNvPr>
          <p:cNvSpPr/>
          <p:nvPr/>
        </p:nvSpPr>
        <p:spPr>
          <a:xfrm>
            <a:off x="1540867" y="2754897"/>
            <a:ext cx="2723410" cy="973068"/>
          </a:xfrm>
          <a:prstGeom prst="roundRect">
            <a:avLst/>
          </a:prstGeom>
          <a:solidFill>
            <a:schemeClr val="accent2">
              <a:lumMod val="20000"/>
              <a:lumOff val="80000"/>
            </a:schemeClr>
          </a:solidFill>
          <a:ln w="254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27" name="Textfeld 26">
            <a:extLst>
              <a:ext uri="{FF2B5EF4-FFF2-40B4-BE49-F238E27FC236}">
                <a16:creationId xmlns:a16="http://schemas.microsoft.com/office/drawing/2014/main" id="{263EBB67-4BEA-D325-D5A1-2CABEC5F28EF}"/>
              </a:ext>
            </a:extLst>
          </p:cNvPr>
          <p:cNvSpPr txBox="1"/>
          <p:nvPr/>
        </p:nvSpPr>
        <p:spPr>
          <a:xfrm>
            <a:off x="1612612" y="2819026"/>
            <a:ext cx="870751" cy="253916"/>
          </a:xfrm>
          <a:prstGeom prst="rect">
            <a:avLst/>
          </a:prstGeom>
          <a:noFill/>
        </p:spPr>
        <p:txBody>
          <a:bodyPr wrap="none" rtlCol="0">
            <a:spAutoFit/>
          </a:bodyPr>
          <a:lstStyle/>
          <a:p>
            <a:r>
              <a:rPr lang="de-DE" sz="1050" b="1"/>
              <a:t>Inputdaten</a:t>
            </a:r>
          </a:p>
        </p:txBody>
      </p:sp>
      <p:sp>
        <p:nvSpPr>
          <p:cNvPr id="28" name="Rechteck 27">
            <a:extLst>
              <a:ext uri="{FF2B5EF4-FFF2-40B4-BE49-F238E27FC236}">
                <a16:creationId xmlns:a16="http://schemas.microsoft.com/office/drawing/2014/main" id="{610DB25C-CC27-0910-F790-7026428B760B}"/>
              </a:ext>
            </a:extLst>
          </p:cNvPr>
          <p:cNvSpPr/>
          <p:nvPr/>
        </p:nvSpPr>
        <p:spPr>
          <a:xfrm>
            <a:off x="1879839" y="3064077"/>
            <a:ext cx="950306" cy="17735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err="1"/>
              <a:t>Gun</a:t>
            </a:r>
            <a:r>
              <a:rPr lang="de-DE" sz="1050"/>
              <a:t>-Point</a:t>
            </a:r>
          </a:p>
        </p:txBody>
      </p:sp>
      <p:sp>
        <p:nvSpPr>
          <p:cNvPr id="29" name="Rechteck 28">
            <a:extLst>
              <a:ext uri="{FF2B5EF4-FFF2-40B4-BE49-F238E27FC236}">
                <a16:creationId xmlns:a16="http://schemas.microsoft.com/office/drawing/2014/main" id="{A9357088-B8A4-17CD-8D69-404022017FC4}"/>
              </a:ext>
            </a:extLst>
          </p:cNvPr>
          <p:cNvSpPr/>
          <p:nvPr/>
        </p:nvSpPr>
        <p:spPr>
          <a:xfrm>
            <a:off x="3031003" y="3064077"/>
            <a:ext cx="950306" cy="17735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Coffee</a:t>
            </a:r>
          </a:p>
        </p:txBody>
      </p:sp>
      <p:sp>
        <p:nvSpPr>
          <p:cNvPr id="31" name="Textfeld 30">
            <a:extLst>
              <a:ext uri="{FF2B5EF4-FFF2-40B4-BE49-F238E27FC236}">
                <a16:creationId xmlns:a16="http://schemas.microsoft.com/office/drawing/2014/main" id="{B7A134DA-DB12-4FE6-B808-F9B5C75B1A71}"/>
              </a:ext>
            </a:extLst>
          </p:cNvPr>
          <p:cNvSpPr txBox="1"/>
          <p:nvPr/>
        </p:nvSpPr>
        <p:spPr>
          <a:xfrm>
            <a:off x="1680922" y="3316664"/>
            <a:ext cx="2443298" cy="400110"/>
          </a:xfrm>
          <a:prstGeom prst="rect">
            <a:avLst/>
          </a:prstGeom>
          <a:noFill/>
        </p:spPr>
        <p:txBody>
          <a:bodyPr wrap="none" rtlCol="0">
            <a:spAutoFit/>
          </a:bodyPr>
          <a:lstStyle/>
          <a:p>
            <a:pPr algn="ctr"/>
            <a:r>
              <a:rPr lang="de-DE" sz="1000" i="1"/>
              <a:t>Bestehen aus Zeitreihen, die </a:t>
            </a:r>
          </a:p>
          <a:p>
            <a:pPr algn="ctr"/>
            <a:r>
              <a:rPr lang="de-DE" sz="1000" i="1"/>
              <a:t>verschiedenen Klassen zugeordnet sind</a:t>
            </a:r>
          </a:p>
        </p:txBody>
      </p:sp>
      <p:sp>
        <p:nvSpPr>
          <p:cNvPr id="33" name="Abgerundetes Rechteck 32">
            <a:extLst>
              <a:ext uri="{FF2B5EF4-FFF2-40B4-BE49-F238E27FC236}">
                <a16:creationId xmlns:a16="http://schemas.microsoft.com/office/drawing/2014/main" id="{7C4FA2BA-8C31-2C02-768C-3E0B804920EF}"/>
              </a:ext>
            </a:extLst>
          </p:cNvPr>
          <p:cNvSpPr/>
          <p:nvPr/>
        </p:nvSpPr>
        <p:spPr>
          <a:xfrm>
            <a:off x="1543780" y="4228173"/>
            <a:ext cx="2720496" cy="1069155"/>
          </a:xfrm>
          <a:prstGeom prst="roundRect">
            <a:avLst/>
          </a:prstGeom>
          <a:solidFill>
            <a:schemeClr val="accent2">
              <a:lumMod val="20000"/>
              <a:lumOff val="80000"/>
            </a:schemeClr>
          </a:solidFill>
          <a:ln w="254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34" name="Textfeld 33">
            <a:extLst>
              <a:ext uri="{FF2B5EF4-FFF2-40B4-BE49-F238E27FC236}">
                <a16:creationId xmlns:a16="http://schemas.microsoft.com/office/drawing/2014/main" id="{0E2C383F-5911-DF3A-2982-B9E277376AEE}"/>
              </a:ext>
            </a:extLst>
          </p:cNvPr>
          <p:cNvSpPr txBox="1"/>
          <p:nvPr/>
        </p:nvSpPr>
        <p:spPr>
          <a:xfrm>
            <a:off x="1615449" y="4286999"/>
            <a:ext cx="1327608" cy="261610"/>
          </a:xfrm>
          <a:prstGeom prst="rect">
            <a:avLst/>
          </a:prstGeom>
          <a:noFill/>
        </p:spPr>
        <p:txBody>
          <a:bodyPr wrap="none" rtlCol="0">
            <a:spAutoFit/>
          </a:bodyPr>
          <a:lstStyle/>
          <a:p>
            <a:r>
              <a:rPr lang="de-DE" sz="1050" b="1"/>
              <a:t>Pattern Extractor</a:t>
            </a:r>
          </a:p>
        </p:txBody>
      </p:sp>
      <p:sp>
        <p:nvSpPr>
          <p:cNvPr id="35" name="Rechteck 34">
            <a:extLst>
              <a:ext uri="{FF2B5EF4-FFF2-40B4-BE49-F238E27FC236}">
                <a16:creationId xmlns:a16="http://schemas.microsoft.com/office/drawing/2014/main" id="{4588591D-1534-2CB0-EE89-73FA2D383F2C}"/>
              </a:ext>
            </a:extLst>
          </p:cNvPr>
          <p:cNvSpPr/>
          <p:nvPr/>
        </p:nvSpPr>
        <p:spPr>
          <a:xfrm>
            <a:off x="1672492" y="4511786"/>
            <a:ext cx="1159187" cy="3288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Learning-</a:t>
            </a:r>
            <a:r>
              <a:rPr lang="de-DE" sz="1050" err="1"/>
              <a:t>Shapelets</a:t>
            </a:r>
            <a:endParaRPr lang="de-DE" sz="1050"/>
          </a:p>
        </p:txBody>
      </p:sp>
      <p:sp>
        <p:nvSpPr>
          <p:cNvPr id="36" name="Rechteck 35">
            <a:extLst>
              <a:ext uri="{FF2B5EF4-FFF2-40B4-BE49-F238E27FC236}">
                <a16:creationId xmlns:a16="http://schemas.microsoft.com/office/drawing/2014/main" id="{6FB87F9B-1504-E6D7-0B27-691F6A28C05A}"/>
              </a:ext>
            </a:extLst>
          </p:cNvPr>
          <p:cNvSpPr/>
          <p:nvPr/>
        </p:nvSpPr>
        <p:spPr>
          <a:xfrm>
            <a:off x="3032322" y="4511786"/>
            <a:ext cx="949290" cy="3288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err="1"/>
              <a:t>Shapelet</a:t>
            </a:r>
            <a:r>
              <a:rPr lang="de-DE" sz="1050"/>
              <a:t>-Transform</a:t>
            </a:r>
          </a:p>
        </p:txBody>
      </p:sp>
      <p:sp>
        <p:nvSpPr>
          <p:cNvPr id="37" name="Textfeld 36">
            <a:extLst>
              <a:ext uri="{FF2B5EF4-FFF2-40B4-BE49-F238E27FC236}">
                <a16:creationId xmlns:a16="http://schemas.microsoft.com/office/drawing/2014/main" id="{AF130B11-1034-F406-A8B5-967588281106}"/>
              </a:ext>
            </a:extLst>
          </p:cNvPr>
          <p:cNvSpPr txBox="1"/>
          <p:nvPr/>
        </p:nvSpPr>
        <p:spPr>
          <a:xfrm>
            <a:off x="1553336" y="4906821"/>
            <a:ext cx="2701380" cy="400110"/>
          </a:xfrm>
          <a:prstGeom prst="rect">
            <a:avLst/>
          </a:prstGeom>
          <a:noFill/>
        </p:spPr>
        <p:txBody>
          <a:bodyPr wrap="none" rtlCol="0">
            <a:spAutoFit/>
          </a:bodyPr>
          <a:lstStyle/>
          <a:p>
            <a:pPr algn="ctr"/>
            <a:r>
              <a:rPr lang="de-DE" sz="1000" i="1"/>
              <a:t>Finden Muster (</a:t>
            </a:r>
            <a:r>
              <a:rPr lang="de-DE" sz="1000" i="1" err="1"/>
              <a:t>Shapelets</a:t>
            </a:r>
            <a:r>
              <a:rPr lang="de-DE" sz="1000" i="1"/>
              <a:t>), die repräsentativ</a:t>
            </a:r>
          </a:p>
          <a:p>
            <a:pPr algn="ctr"/>
            <a:r>
              <a:rPr lang="de-DE" sz="1000" i="1"/>
              <a:t>für eine bestimmte Klasse sein können</a:t>
            </a:r>
          </a:p>
        </p:txBody>
      </p:sp>
      <p:sp>
        <p:nvSpPr>
          <p:cNvPr id="40" name="Abgerundetes Rechteck 39">
            <a:extLst>
              <a:ext uri="{FF2B5EF4-FFF2-40B4-BE49-F238E27FC236}">
                <a16:creationId xmlns:a16="http://schemas.microsoft.com/office/drawing/2014/main" id="{341A9286-C26B-C509-5F38-830C6CFF4D2D}"/>
              </a:ext>
            </a:extLst>
          </p:cNvPr>
          <p:cNvSpPr/>
          <p:nvPr/>
        </p:nvSpPr>
        <p:spPr>
          <a:xfrm>
            <a:off x="2952558" y="1009426"/>
            <a:ext cx="2723410" cy="1394805"/>
          </a:xfrm>
          <a:prstGeom prst="roundRect">
            <a:avLst/>
          </a:prstGeom>
          <a:solidFill>
            <a:schemeClr val="accent2">
              <a:lumMod val="20000"/>
              <a:lumOff val="80000"/>
            </a:schemeClr>
          </a:solidFill>
          <a:ln w="254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e-DE" sz="1200"/>
          </a:p>
        </p:txBody>
      </p:sp>
      <p:sp>
        <p:nvSpPr>
          <p:cNvPr id="41" name="Textfeld 40">
            <a:extLst>
              <a:ext uri="{FF2B5EF4-FFF2-40B4-BE49-F238E27FC236}">
                <a16:creationId xmlns:a16="http://schemas.microsoft.com/office/drawing/2014/main" id="{5AD6E4DB-5E2D-F251-EAF3-01566C17DDA8}"/>
              </a:ext>
            </a:extLst>
          </p:cNvPr>
          <p:cNvSpPr txBox="1"/>
          <p:nvPr/>
        </p:nvSpPr>
        <p:spPr>
          <a:xfrm>
            <a:off x="3017558" y="1086170"/>
            <a:ext cx="2517036" cy="253916"/>
          </a:xfrm>
          <a:prstGeom prst="rect">
            <a:avLst/>
          </a:prstGeom>
          <a:noFill/>
        </p:spPr>
        <p:txBody>
          <a:bodyPr wrap="none" rtlCol="0">
            <a:spAutoFit/>
          </a:bodyPr>
          <a:lstStyle/>
          <a:p>
            <a:r>
              <a:rPr lang="de-DE" sz="1050" b="1"/>
              <a:t>Klassische </a:t>
            </a:r>
            <a:r>
              <a:rPr lang="de-DE" sz="1050" b="1" err="1"/>
              <a:t>Explainable</a:t>
            </a:r>
            <a:r>
              <a:rPr lang="de-DE" sz="1050" b="1"/>
              <a:t> AI Methoden</a:t>
            </a:r>
          </a:p>
        </p:txBody>
      </p:sp>
      <p:sp>
        <p:nvSpPr>
          <p:cNvPr id="44" name="Textfeld 43">
            <a:extLst>
              <a:ext uri="{FF2B5EF4-FFF2-40B4-BE49-F238E27FC236}">
                <a16:creationId xmlns:a16="http://schemas.microsoft.com/office/drawing/2014/main" id="{BE520703-1F3E-B744-9803-CFCD55DEB2F2}"/>
              </a:ext>
            </a:extLst>
          </p:cNvPr>
          <p:cNvSpPr txBox="1"/>
          <p:nvPr/>
        </p:nvSpPr>
        <p:spPr>
          <a:xfrm>
            <a:off x="2899083" y="1730311"/>
            <a:ext cx="2837636" cy="553998"/>
          </a:xfrm>
          <a:prstGeom prst="rect">
            <a:avLst/>
          </a:prstGeom>
          <a:noFill/>
        </p:spPr>
        <p:txBody>
          <a:bodyPr wrap="none" rtlCol="0">
            <a:spAutoFit/>
          </a:bodyPr>
          <a:lstStyle/>
          <a:p>
            <a:pPr algn="ctr"/>
            <a:r>
              <a:rPr lang="de-DE" sz="1000" i="1"/>
              <a:t>Definieren Bereiche in den Daten, die relevant</a:t>
            </a:r>
          </a:p>
          <a:p>
            <a:pPr algn="ctr"/>
            <a:r>
              <a:rPr lang="de-DE" sz="1000" i="1"/>
              <a:t>für ein bestimmtes Klassifikationsergebnis des </a:t>
            </a:r>
          </a:p>
          <a:p>
            <a:pPr algn="ctr"/>
            <a:r>
              <a:rPr lang="de-DE" sz="1000" i="1"/>
              <a:t>Modells sind</a:t>
            </a:r>
          </a:p>
        </p:txBody>
      </p:sp>
      <p:sp>
        <p:nvSpPr>
          <p:cNvPr id="45" name="Rechteck 44">
            <a:extLst>
              <a:ext uri="{FF2B5EF4-FFF2-40B4-BE49-F238E27FC236}">
                <a16:creationId xmlns:a16="http://schemas.microsoft.com/office/drawing/2014/main" id="{6A01BA90-4DB3-AEBD-B264-05F9972A2E5A}"/>
              </a:ext>
            </a:extLst>
          </p:cNvPr>
          <p:cNvSpPr/>
          <p:nvPr/>
        </p:nvSpPr>
        <p:spPr>
          <a:xfrm>
            <a:off x="3064955" y="1372790"/>
            <a:ext cx="786891" cy="212240"/>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de-DE" sz="1050"/>
              <a:t>Lime</a:t>
            </a:r>
          </a:p>
        </p:txBody>
      </p:sp>
      <p:sp>
        <p:nvSpPr>
          <p:cNvPr id="46" name="Rechteck 45">
            <a:extLst>
              <a:ext uri="{FF2B5EF4-FFF2-40B4-BE49-F238E27FC236}">
                <a16:creationId xmlns:a16="http://schemas.microsoft.com/office/drawing/2014/main" id="{701374A6-E346-DDC4-E856-D2A280A8CCBE}"/>
              </a:ext>
            </a:extLst>
          </p:cNvPr>
          <p:cNvSpPr/>
          <p:nvPr/>
        </p:nvSpPr>
        <p:spPr>
          <a:xfrm>
            <a:off x="3924295" y="1372790"/>
            <a:ext cx="786891" cy="21224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de-DE" sz="1050"/>
              <a:t>Grad-Cam</a:t>
            </a:r>
          </a:p>
        </p:txBody>
      </p:sp>
      <p:sp>
        <p:nvSpPr>
          <p:cNvPr id="47" name="Rechteck 46">
            <a:extLst>
              <a:ext uri="{FF2B5EF4-FFF2-40B4-BE49-F238E27FC236}">
                <a16:creationId xmlns:a16="http://schemas.microsoft.com/office/drawing/2014/main" id="{7ADD85C0-8E65-1CF7-D498-01520EF3BBC3}"/>
              </a:ext>
            </a:extLst>
          </p:cNvPr>
          <p:cNvSpPr/>
          <p:nvPr/>
        </p:nvSpPr>
        <p:spPr>
          <a:xfrm>
            <a:off x="4783635" y="1372790"/>
            <a:ext cx="786891" cy="212240"/>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de-DE" sz="1050"/>
              <a:t>SHAP</a:t>
            </a:r>
          </a:p>
        </p:txBody>
      </p:sp>
      <p:sp>
        <p:nvSpPr>
          <p:cNvPr id="51" name="Abgerundetes Rechteck 50">
            <a:extLst>
              <a:ext uri="{FF2B5EF4-FFF2-40B4-BE49-F238E27FC236}">
                <a16:creationId xmlns:a16="http://schemas.microsoft.com/office/drawing/2014/main" id="{ED9D0C70-DBBE-AB7A-92DC-313D7C19507D}"/>
              </a:ext>
            </a:extLst>
          </p:cNvPr>
          <p:cNvSpPr/>
          <p:nvPr/>
        </p:nvSpPr>
        <p:spPr>
          <a:xfrm>
            <a:off x="8201387" y="2641356"/>
            <a:ext cx="2980999" cy="1295599"/>
          </a:xfrm>
          <a:prstGeom prst="roundRect">
            <a:avLst/>
          </a:prstGeom>
          <a:solidFill>
            <a:schemeClr val="accent2">
              <a:lumMod val="20000"/>
              <a:lumOff val="80000"/>
            </a:schemeClr>
          </a:solidFill>
          <a:ln w="254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2" name="Textfeld 51">
            <a:extLst>
              <a:ext uri="{FF2B5EF4-FFF2-40B4-BE49-F238E27FC236}">
                <a16:creationId xmlns:a16="http://schemas.microsoft.com/office/drawing/2014/main" id="{F5E4C231-FF86-A549-D46D-87FBCBB1B7F7}"/>
              </a:ext>
            </a:extLst>
          </p:cNvPr>
          <p:cNvSpPr txBox="1"/>
          <p:nvPr/>
        </p:nvSpPr>
        <p:spPr>
          <a:xfrm>
            <a:off x="8273259" y="2704695"/>
            <a:ext cx="1217000" cy="253916"/>
          </a:xfrm>
          <a:prstGeom prst="rect">
            <a:avLst/>
          </a:prstGeom>
          <a:noFill/>
        </p:spPr>
        <p:txBody>
          <a:bodyPr wrap="none" rtlCol="0">
            <a:spAutoFit/>
          </a:bodyPr>
          <a:lstStyle/>
          <a:p>
            <a:r>
              <a:rPr lang="de-DE" sz="1050" b="1"/>
              <a:t>Konfidenzcheck</a:t>
            </a:r>
          </a:p>
        </p:txBody>
      </p:sp>
      <p:sp>
        <p:nvSpPr>
          <p:cNvPr id="53" name="Rechteck 52">
            <a:extLst>
              <a:ext uri="{FF2B5EF4-FFF2-40B4-BE49-F238E27FC236}">
                <a16:creationId xmlns:a16="http://schemas.microsoft.com/office/drawing/2014/main" id="{8848603D-7B90-A6F5-2267-27FEB4D3AE21}"/>
              </a:ext>
            </a:extLst>
          </p:cNvPr>
          <p:cNvSpPr/>
          <p:nvPr/>
        </p:nvSpPr>
        <p:spPr>
          <a:xfrm>
            <a:off x="8479517" y="2926964"/>
            <a:ext cx="1117688" cy="17237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Klasse 0: 95%</a:t>
            </a:r>
          </a:p>
        </p:txBody>
      </p:sp>
      <p:sp>
        <p:nvSpPr>
          <p:cNvPr id="54" name="Rechteck 53">
            <a:extLst>
              <a:ext uri="{FF2B5EF4-FFF2-40B4-BE49-F238E27FC236}">
                <a16:creationId xmlns:a16="http://schemas.microsoft.com/office/drawing/2014/main" id="{AA5B1DF3-3E9B-2CCD-B350-9CE11F16810A}"/>
              </a:ext>
            </a:extLst>
          </p:cNvPr>
          <p:cNvSpPr/>
          <p:nvPr/>
        </p:nvSpPr>
        <p:spPr>
          <a:xfrm>
            <a:off x="9806324" y="2929355"/>
            <a:ext cx="1117688" cy="17516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Klasse 1: 5%</a:t>
            </a:r>
          </a:p>
        </p:txBody>
      </p:sp>
      <p:sp>
        <p:nvSpPr>
          <p:cNvPr id="56" name="Textfeld 55">
            <a:extLst>
              <a:ext uri="{FF2B5EF4-FFF2-40B4-BE49-F238E27FC236}">
                <a16:creationId xmlns:a16="http://schemas.microsoft.com/office/drawing/2014/main" id="{27126BCD-A5C5-6579-1CB0-B1A3EBF81B15}"/>
              </a:ext>
            </a:extLst>
          </p:cNvPr>
          <p:cNvSpPr txBox="1"/>
          <p:nvPr/>
        </p:nvSpPr>
        <p:spPr>
          <a:xfrm>
            <a:off x="8171985" y="3466457"/>
            <a:ext cx="3090147" cy="400110"/>
          </a:xfrm>
          <a:prstGeom prst="rect">
            <a:avLst/>
          </a:prstGeom>
          <a:noFill/>
        </p:spPr>
        <p:txBody>
          <a:bodyPr wrap="square" rtlCol="0">
            <a:spAutoFit/>
          </a:bodyPr>
          <a:lstStyle/>
          <a:p>
            <a:pPr algn="ctr"/>
            <a:r>
              <a:rPr lang="de-DE" sz="1000" i="1"/>
              <a:t>Vergleicht wie sicher sich das Modell nach der “Auslöschung“ verschiedener Bereiche ist</a:t>
            </a:r>
          </a:p>
        </p:txBody>
      </p:sp>
      <p:sp>
        <p:nvSpPr>
          <p:cNvPr id="57" name="Rechteck 56">
            <a:extLst>
              <a:ext uri="{FF2B5EF4-FFF2-40B4-BE49-F238E27FC236}">
                <a16:creationId xmlns:a16="http://schemas.microsoft.com/office/drawing/2014/main" id="{73A53CF8-F050-FE6E-9140-16D0FA88DC47}"/>
              </a:ext>
            </a:extLst>
          </p:cNvPr>
          <p:cNvSpPr/>
          <p:nvPr/>
        </p:nvSpPr>
        <p:spPr>
          <a:xfrm>
            <a:off x="8479517" y="3290151"/>
            <a:ext cx="1117688" cy="17237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Klasse 0: 89%</a:t>
            </a:r>
          </a:p>
        </p:txBody>
      </p:sp>
      <p:sp>
        <p:nvSpPr>
          <p:cNvPr id="58" name="Rechteck 57">
            <a:extLst>
              <a:ext uri="{FF2B5EF4-FFF2-40B4-BE49-F238E27FC236}">
                <a16:creationId xmlns:a16="http://schemas.microsoft.com/office/drawing/2014/main" id="{D3957610-4B8D-948F-960C-6BB64638220D}"/>
              </a:ext>
            </a:extLst>
          </p:cNvPr>
          <p:cNvSpPr/>
          <p:nvPr/>
        </p:nvSpPr>
        <p:spPr>
          <a:xfrm>
            <a:off x="9806324" y="3292542"/>
            <a:ext cx="1117688" cy="175168"/>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Klasse 1: 11%</a:t>
            </a:r>
          </a:p>
        </p:txBody>
      </p:sp>
      <p:grpSp>
        <p:nvGrpSpPr>
          <p:cNvPr id="60" name="Gruppieren 59">
            <a:extLst>
              <a:ext uri="{FF2B5EF4-FFF2-40B4-BE49-F238E27FC236}">
                <a16:creationId xmlns:a16="http://schemas.microsoft.com/office/drawing/2014/main" id="{EC615D25-C329-F090-5CDE-DE41C0495C4F}"/>
              </a:ext>
            </a:extLst>
          </p:cNvPr>
          <p:cNvGrpSpPr/>
          <p:nvPr/>
        </p:nvGrpSpPr>
        <p:grpSpPr>
          <a:xfrm>
            <a:off x="6603650" y="4227827"/>
            <a:ext cx="2728213" cy="1069155"/>
            <a:chOff x="8153400" y="2786307"/>
            <a:chExt cx="3830594" cy="1627115"/>
          </a:xfrm>
          <a:solidFill>
            <a:schemeClr val="accent2">
              <a:lumMod val="20000"/>
              <a:lumOff val="80000"/>
            </a:schemeClr>
          </a:solidFill>
        </p:grpSpPr>
        <p:sp>
          <p:nvSpPr>
            <p:cNvPr id="61" name="Abgerundetes Rechteck 60">
              <a:extLst>
                <a:ext uri="{FF2B5EF4-FFF2-40B4-BE49-F238E27FC236}">
                  <a16:creationId xmlns:a16="http://schemas.microsoft.com/office/drawing/2014/main" id="{E583DF01-E9C6-F5D8-BF7D-0ED2B998DEED}"/>
                </a:ext>
              </a:extLst>
            </p:cNvPr>
            <p:cNvSpPr/>
            <p:nvPr/>
          </p:nvSpPr>
          <p:spPr>
            <a:xfrm>
              <a:off x="8153400" y="2786307"/>
              <a:ext cx="3830594" cy="1627115"/>
            </a:xfrm>
            <a:prstGeom prst="roundRect">
              <a:avLst/>
            </a:prstGeom>
            <a:grpFill/>
            <a:ln w="254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62" name="Textfeld 61">
              <a:extLst>
                <a:ext uri="{FF2B5EF4-FFF2-40B4-BE49-F238E27FC236}">
                  <a16:creationId xmlns:a16="http://schemas.microsoft.com/office/drawing/2014/main" id="{6FE4AA76-0079-6887-655D-2CC715A74353}"/>
                </a:ext>
              </a:extLst>
            </p:cNvPr>
            <p:cNvSpPr txBox="1"/>
            <p:nvPr/>
          </p:nvSpPr>
          <p:spPr>
            <a:xfrm>
              <a:off x="8254314" y="2893541"/>
              <a:ext cx="2534765" cy="386427"/>
            </a:xfrm>
            <a:prstGeom prst="rect">
              <a:avLst/>
            </a:prstGeom>
            <a:grpFill/>
            <a:ln>
              <a:noFill/>
            </a:ln>
          </p:spPr>
          <p:txBody>
            <a:bodyPr wrap="none" rtlCol="0">
              <a:spAutoFit/>
            </a:bodyPr>
            <a:lstStyle/>
            <a:p>
              <a:r>
                <a:rPr lang="de-DE" sz="1050" b="1"/>
                <a:t>Teil der Zeitreihe löschen</a:t>
              </a:r>
            </a:p>
          </p:txBody>
        </p:sp>
        <p:sp>
          <p:nvSpPr>
            <p:cNvPr id="65" name="Textfeld 64">
              <a:extLst>
                <a:ext uri="{FF2B5EF4-FFF2-40B4-BE49-F238E27FC236}">
                  <a16:creationId xmlns:a16="http://schemas.microsoft.com/office/drawing/2014/main" id="{D486AB84-8617-1E04-09F3-CC678676E73A}"/>
                </a:ext>
              </a:extLst>
            </p:cNvPr>
            <p:cNvSpPr txBox="1"/>
            <p:nvPr/>
          </p:nvSpPr>
          <p:spPr>
            <a:xfrm>
              <a:off x="8166610" y="3732601"/>
              <a:ext cx="3804174" cy="608915"/>
            </a:xfrm>
            <a:prstGeom prst="rect">
              <a:avLst/>
            </a:prstGeom>
            <a:noFill/>
            <a:ln>
              <a:noFill/>
            </a:ln>
          </p:spPr>
          <p:txBody>
            <a:bodyPr wrap="none" rtlCol="0">
              <a:spAutoFit/>
            </a:bodyPr>
            <a:lstStyle/>
            <a:p>
              <a:pPr algn="ctr"/>
              <a:r>
                <a:rPr lang="de-DE" sz="1000" i="1"/>
                <a:t>“Löscht“ für Klassifikation relevante Bereiche</a:t>
              </a:r>
            </a:p>
            <a:p>
              <a:pPr algn="ctr"/>
              <a:r>
                <a:rPr lang="de-DE" sz="1000" i="1"/>
                <a:t>der Zeitreihe</a:t>
              </a:r>
            </a:p>
          </p:txBody>
        </p:sp>
      </p:grpSp>
      <p:sp>
        <p:nvSpPr>
          <p:cNvPr id="68" name="Rechteck 67">
            <a:extLst>
              <a:ext uri="{FF2B5EF4-FFF2-40B4-BE49-F238E27FC236}">
                <a16:creationId xmlns:a16="http://schemas.microsoft.com/office/drawing/2014/main" id="{D6757BCB-97F7-2EE6-CF75-7311FBF5818F}"/>
              </a:ext>
            </a:extLst>
          </p:cNvPr>
          <p:cNvSpPr/>
          <p:nvPr/>
        </p:nvSpPr>
        <p:spPr>
          <a:xfrm>
            <a:off x="6728684" y="4555773"/>
            <a:ext cx="685952" cy="1948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Zero</a:t>
            </a:r>
          </a:p>
        </p:txBody>
      </p:sp>
      <p:sp>
        <p:nvSpPr>
          <p:cNvPr id="69" name="Rechteck 68">
            <a:extLst>
              <a:ext uri="{FF2B5EF4-FFF2-40B4-BE49-F238E27FC236}">
                <a16:creationId xmlns:a16="http://schemas.microsoft.com/office/drawing/2014/main" id="{01708FEC-E6AF-618A-47E1-C0B969B10AAA}"/>
              </a:ext>
            </a:extLst>
          </p:cNvPr>
          <p:cNvSpPr/>
          <p:nvPr/>
        </p:nvSpPr>
        <p:spPr>
          <a:xfrm>
            <a:off x="7616695" y="4555773"/>
            <a:ext cx="685952" cy="1948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Mean</a:t>
            </a:r>
          </a:p>
        </p:txBody>
      </p:sp>
      <p:sp>
        <p:nvSpPr>
          <p:cNvPr id="70" name="Rechteck 69">
            <a:extLst>
              <a:ext uri="{FF2B5EF4-FFF2-40B4-BE49-F238E27FC236}">
                <a16:creationId xmlns:a16="http://schemas.microsoft.com/office/drawing/2014/main" id="{64315FEF-5C7C-38CA-3AA8-ED339A44F0EC}"/>
              </a:ext>
            </a:extLst>
          </p:cNvPr>
          <p:cNvSpPr/>
          <p:nvPr/>
        </p:nvSpPr>
        <p:spPr>
          <a:xfrm>
            <a:off x="8504706" y="4555773"/>
            <a:ext cx="685952" cy="1948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linear</a:t>
            </a:r>
          </a:p>
        </p:txBody>
      </p:sp>
      <p:grpSp>
        <p:nvGrpSpPr>
          <p:cNvPr id="96" name="Gruppieren 95">
            <a:extLst>
              <a:ext uri="{FF2B5EF4-FFF2-40B4-BE49-F238E27FC236}">
                <a16:creationId xmlns:a16="http://schemas.microsoft.com/office/drawing/2014/main" id="{3D451561-F012-40F7-1947-A226A1E7561D}"/>
              </a:ext>
            </a:extLst>
          </p:cNvPr>
          <p:cNvGrpSpPr/>
          <p:nvPr/>
        </p:nvGrpSpPr>
        <p:grpSpPr>
          <a:xfrm>
            <a:off x="6611736" y="1187224"/>
            <a:ext cx="2728213" cy="1069155"/>
            <a:chOff x="8153400" y="2786307"/>
            <a:chExt cx="3830594" cy="1627115"/>
          </a:xfrm>
          <a:solidFill>
            <a:schemeClr val="accent2">
              <a:lumMod val="20000"/>
              <a:lumOff val="80000"/>
            </a:schemeClr>
          </a:solidFill>
        </p:grpSpPr>
        <p:sp>
          <p:nvSpPr>
            <p:cNvPr id="100" name="Abgerundetes Rechteck 99">
              <a:extLst>
                <a:ext uri="{FF2B5EF4-FFF2-40B4-BE49-F238E27FC236}">
                  <a16:creationId xmlns:a16="http://schemas.microsoft.com/office/drawing/2014/main" id="{40E28836-B5AE-A5A8-BAA5-52E502A5EE69}"/>
                </a:ext>
              </a:extLst>
            </p:cNvPr>
            <p:cNvSpPr/>
            <p:nvPr/>
          </p:nvSpPr>
          <p:spPr>
            <a:xfrm>
              <a:off x="8153400" y="2786307"/>
              <a:ext cx="3830594" cy="1627115"/>
            </a:xfrm>
            <a:prstGeom prst="roundRect">
              <a:avLst/>
            </a:prstGeom>
            <a:grpFill/>
            <a:ln w="254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101" name="Textfeld 100">
              <a:extLst>
                <a:ext uri="{FF2B5EF4-FFF2-40B4-BE49-F238E27FC236}">
                  <a16:creationId xmlns:a16="http://schemas.microsoft.com/office/drawing/2014/main" id="{468D373B-F9C9-0111-5C2B-180B8BE77046}"/>
                </a:ext>
              </a:extLst>
            </p:cNvPr>
            <p:cNvSpPr txBox="1"/>
            <p:nvPr/>
          </p:nvSpPr>
          <p:spPr>
            <a:xfrm>
              <a:off x="8254314" y="2893541"/>
              <a:ext cx="2534765" cy="386427"/>
            </a:xfrm>
            <a:prstGeom prst="rect">
              <a:avLst/>
            </a:prstGeom>
            <a:grpFill/>
            <a:ln>
              <a:noFill/>
            </a:ln>
          </p:spPr>
          <p:txBody>
            <a:bodyPr wrap="none" rtlCol="0">
              <a:spAutoFit/>
            </a:bodyPr>
            <a:lstStyle/>
            <a:p>
              <a:r>
                <a:rPr lang="de-DE" sz="1050" b="1"/>
                <a:t>Teil der Zeitreihe löschen</a:t>
              </a:r>
            </a:p>
          </p:txBody>
        </p:sp>
        <p:sp>
          <p:nvSpPr>
            <p:cNvPr id="102" name="Textfeld 101">
              <a:extLst>
                <a:ext uri="{FF2B5EF4-FFF2-40B4-BE49-F238E27FC236}">
                  <a16:creationId xmlns:a16="http://schemas.microsoft.com/office/drawing/2014/main" id="{D44B6AEA-0DBF-4541-A42B-53DF912DA922}"/>
                </a:ext>
              </a:extLst>
            </p:cNvPr>
            <p:cNvSpPr txBox="1"/>
            <p:nvPr/>
          </p:nvSpPr>
          <p:spPr>
            <a:xfrm>
              <a:off x="8166610" y="3732601"/>
              <a:ext cx="3804174" cy="608915"/>
            </a:xfrm>
            <a:prstGeom prst="rect">
              <a:avLst/>
            </a:prstGeom>
            <a:noFill/>
            <a:ln>
              <a:noFill/>
            </a:ln>
          </p:spPr>
          <p:txBody>
            <a:bodyPr wrap="none" rtlCol="0">
              <a:spAutoFit/>
            </a:bodyPr>
            <a:lstStyle/>
            <a:p>
              <a:pPr algn="ctr"/>
              <a:r>
                <a:rPr lang="de-DE" sz="1000" i="1"/>
                <a:t>“Löscht“ für Klassifikation relevante Bereiche</a:t>
              </a:r>
            </a:p>
            <a:p>
              <a:pPr algn="ctr"/>
              <a:r>
                <a:rPr lang="de-DE" sz="1000" i="1"/>
                <a:t>der Zeitreihe</a:t>
              </a:r>
            </a:p>
          </p:txBody>
        </p:sp>
      </p:grpSp>
      <p:sp>
        <p:nvSpPr>
          <p:cNvPr id="97" name="Rechteck 96">
            <a:extLst>
              <a:ext uri="{FF2B5EF4-FFF2-40B4-BE49-F238E27FC236}">
                <a16:creationId xmlns:a16="http://schemas.microsoft.com/office/drawing/2014/main" id="{BBCAAB1C-4377-CBBF-3A73-EEB85414AD35}"/>
              </a:ext>
            </a:extLst>
          </p:cNvPr>
          <p:cNvSpPr/>
          <p:nvPr/>
        </p:nvSpPr>
        <p:spPr>
          <a:xfrm>
            <a:off x="6736770" y="1515170"/>
            <a:ext cx="685952" cy="1948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Null</a:t>
            </a:r>
          </a:p>
        </p:txBody>
      </p:sp>
      <p:sp>
        <p:nvSpPr>
          <p:cNvPr id="98" name="Rechteck 97">
            <a:extLst>
              <a:ext uri="{FF2B5EF4-FFF2-40B4-BE49-F238E27FC236}">
                <a16:creationId xmlns:a16="http://schemas.microsoft.com/office/drawing/2014/main" id="{287C62B6-9F2F-0EEF-DE25-284151EB7DB4}"/>
              </a:ext>
            </a:extLst>
          </p:cNvPr>
          <p:cNvSpPr/>
          <p:nvPr/>
        </p:nvSpPr>
        <p:spPr>
          <a:xfrm>
            <a:off x="7624781" y="1515170"/>
            <a:ext cx="685952" cy="1948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Mean</a:t>
            </a:r>
          </a:p>
        </p:txBody>
      </p:sp>
      <p:sp>
        <p:nvSpPr>
          <p:cNvPr id="99" name="Rechteck 98">
            <a:extLst>
              <a:ext uri="{FF2B5EF4-FFF2-40B4-BE49-F238E27FC236}">
                <a16:creationId xmlns:a16="http://schemas.microsoft.com/office/drawing/2014/main" id="{EA99E0C7-1012-1068-EA30-4D2AE072086D}"/>
              </a:ext>
            </a:extLst>
          </p:cNvPr>
          <p:cNvSpPr/>
          <p:nvPr/>
        </p:nvSpPr>
        <p:spPr>
          <a:xfrm>
            <a:off x="8512792" y="1515170"/>
            <a:ext cx="685952" cy="19486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linear</a:t>
            </a:r>
          </a:p>
        </p:txBody>
      </p:sp>
    </p:spTree>
    <p:extLst>
      <p:ext uri="{BB962C8B-B14F-4D97-AF65-F5344CB8AC3E}">
        <p14:creationId xmlns:p14="http://schemas.microsoft.com/office/powerpoint/2010/main" val="24285742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EB5482-B59A-A1A3-DC9C-87F2262CC1C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DCE770-5E36-4B31-9051-5C390BE2213F}"/>
              </a:ext>
            </a:extLst>
          </p:cNvPr>
          <p:cNvGraphicFramePr>
            <a:graphicFrameLocks noChangeAspect="1"/>
          </p:cNvGraphicFramePr>
          <p:nvPr>
            <p:custDataLst>
              <p:tags r:id="rId1"/>
            </p:custDataLst>
            <p:extLst>
              <p:ext uri="{D42A27DB-BD31-4B8C-83A1-F6EECF244321}">
                <p14:modId xmlns:p14="http://schemas.microsoft.com/office/powerpoint/2010/main" val="1154923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A5DCE770-5E36-4B31-9051-5C390BE221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11258E41-B5DA-F7AA-4580-7E74733FADFA}"/>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D38D40CF-7DAF-4609-DE04-505D67DC9165}"/>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66DE6819-8F41-F9A6-CCD2-EA4B7CB7D156}"/>
              </a:ext>
            </a:extLst>
          </p:cNvPr>
          <p:cNvSpPr>
            <a:spLocks noGrp="1"/>
          </p:cNvSpPr>
          <p:nvPr>
            <p:ph type="sldNum" sz="quarter" idx="12"/>
          </p:nvPr>
        </p:nvSpPr>
        <p:spPr/>
        <p:txBody>
          <a:bodyPr/>
          <a:lstStyle/>
          <a:p>
            <a:fld id="{02CEFE82-39F2-4F47-8A0C-D5AB3496FA5C}" type="slidenum">
              <a:rPr lang="de-DE" noProof="0" smtClean="0"/>
              <a:pPr/>
              <a:t>14</a:t>
            </a:fld>
            <a:endParaRPr lang="de-DE" noProof="0"/>
          </a:p>
        </p:txBody>
      </p:sp>
      <p:sp>
        <p:nvSpPr>
          <p:cNvPr id="5" name="Titel 4">
            <a:extLst>
              <a:ext uri="{FF2B5EF4-FFF2-40B4-BE49-F238E27FC236}">
                <a16:creationId xmlns:a16="http://schemas.microsoft.com/office/drawing/2014/main" id="{64ED03D3-5D58-4DBA-CFA4-4D5B85D43E41}"/>
              </a:ext>
            </a:extLst>
          </p:cNvPr>
          <p:cNvSpPr>
            <a:spLocks noGrp="1"/>
          </p:cNvSpPr>
          <p:nvPr>
            <p:ph type="title"/>
          </p:nvPr>
        </p:nvSpPr>
        <p:spPr/>
        <p:txBody>
          <a:bodyPr vert="horz"/>
          <a:lstStyle/>
          <a:p>
            <a:r>
              <a:rPr lang="de-DE"/>
              <a:t>Aktueller Fortschritt</a:t>
            </a:r>
          </a:p>
        </p:txBody>
      </p:sp>
      <p:sp>
        <p:nvSpPr>
          <p:cNvPr id="8" name="Textfeld 7">
            <a:extLst>
              <a:ext uri="{FF2B5EF4-FFF2-40B4-BE49-F238E27FC236}">
                <a16:creationId xmlns:a16="http://schemas.microsoft.com/office/drawing/2014/main" id="{24391849-31DD-D23B-B5A0-610A6ABCC805}"/>
              </a:ext>
            </a:extLst>
          </p:cNvPr>
          <p:cNvSpPr txBox="1"/>
          <p:nvPr/>
        </p:nvSpPr>
        <p:spPr>
          <a:xfrm>
            <a:off x="539751" y="1511370"/>
            <a:ext cx="9669849" cy="4286752"/>
          </a:xfrm>
          <a:prstGeom prst="rect">
            <a:avLst/>
          </a:prstGeom>
          <a:solidFill>
            <a:schemeClr val="bg1"/>
          </a:solidFill>
        </p:spPr>
        <p:txBody>
          <a:bodyPr wrap="square" lIns="0" tIns="0" rIns="0" bIns="0" rtlCol="0">
            <a:noAutofit/>
          </a:bodyPr>
          <a:lstStyle/>
          <a:p>
            <a:pPr algn="l">
              <a:lnSpc>
                <a:spcPct val="110000"/>
              </a:lnSpc>
              <a:spcAft>
                <a:spcPts val="1000"/>
              </a:spcAft>
            </a:pPr>
            <a:r>
              <a:rPr lang="de-DE" sz="1600" b="1">
                <a:solidFill>
                  <a:schemeClr val="tx2">
                    <a:lumMod val="75000"/>
                  </a:schemeClr>
                </a:solidFill>
              </a:rPr>
              <a:t>Abgeschlossen:</a:t>
            </a:r>
          </a:p>
          <a:p>
            <a:pPr marL="171450" indent="-171450" algn="l">
              <a:lnSpc>
                <a:spcPct val="110000"/>
              </a:lnSpc>
              <a:spcAft>
                <a:spcPts val="1000"/>
              </a:spcAft>
              <a:buFont typeface="Arial" panose="020B0604020202020204" pitchFamily="34" charset="0"/>
              <a:buChar char="•"/>
            </a:pPr>
            <a:r>
              <a:rPr lang="de-DE" sz="1200" err="1">
                <a:solidFill>
                  <a:schemeClr val="tx2">
                    <a:lumMod val="75000"/>
                  </a:schemeClr>
                </a:solidFill>
              </a:rPr>
              <a:t>cNN</a:t>
            </a:r>
            <a:r>
              <a:rPr lang="de-DE" sz="1200">
                <a:solidFill>
                  <a:schemeClr val="tx2">
                    <a:lumMod val="75000"/>
                  </a:schemeClr>
                </a:solidFill>
              </a:rPr>
              <a:t> modelliert</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Klassifikation des Coffee Datasets mittels </a:t>
            </a:r>
            <a:r>
              <a:rPr lang="de-DE" sz="1200" err="1">
                <a:solidFill>
                  <a:schemeClr val="tx2">
                    <a:lumMod val="75000"/>
                  </a:schemeClr>
                </a:solidFill>
              </a:rPr>
              <a:t>cNN</a:t>
            </a:r>
            <a:r>
              <a:rPr lang="de-DE" sz="1200">
                <a:solidFill>
                  <a:schemeClr val="tx2">
                    <a:lumMod val="75000"/>
                  </a:schemeClr>
                </a:solidFill>
              </a:rPr>
              <a:t> funktioniert sehr gut</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Visualisierung mittels Grad-Cam funktioniert sehr gut</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Implementierung des Learning </a:t>
            </a:r>
            <a:r>
              <a:rPr lang="de-DE" sz="1200" err="1">
                <a:solidFill>
                  <a:schemeClr val="tx2">
                    <a:lumMod val="75000"/>
                  </a:schemeClr>
                </a:solidFill>
              </a:rPr>
              <a:t>Shapelet</a:t>
            </a:r>
            <a:r>
              <a:rPr lang="de-DE" sz="1200">
                <a:solidFill>
                  <a:schemeClr val="tx2">
                    <a:lumMod val="75000"/>
                  </a:schemeClr>
                </a:solidFill>
              </a:rPr>
              <a:t> Algorithmus durchgeführt</a:t>
            </a:r>
          </a:p>
          <a:p>
            <a:pPr algn="l">
              <a:lnSpc>
                <a:spcPct val="110000"/>
              </a:lnSpc>
              <a:spcAft>
                <a:spcPts val="1000"/>
              </a:spcAft>
            </a:pPr>
            <a:endParaRPr lang="de-DE" sz="700">
              <a:solidFill>
                <a:schemeClr val="tx2">
                  <a:lumMod val="75000"/>
                </a:schemeClr>
              </a:solidFill>
            </a:endParaRPr>
          </a:p>
          <a:p>
            <a:pPr algn="l">
              <a:lnSpc>
                <a:spcPct val="110000"/>
              </a:lnSpc>
              <a:spcAft>
                <a:spcPts val="1000"/>
              </a:spcAft>
            </a:pPr>
            <a:r>
              <a:rPr lang="de-DE" sz="1600" b="1">
                <a:solidFill>
                  <a:schemeClr val="tx2">
                    <a:lumMod val="75000"/>
                  </a:schemeClr>
                </a:solidFill>
              </a:rPr>
              <a:t>Komplikationen:</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Ergebnis von Learning </a:t>
            </a:r>
            <a:r>
              <a:rPr lang="de-DE" sz="1200" err="1">
                <a:solidFill>
                  <a:schemeClr val="tx2">
                    <a:lumMod val="75000"/>
                  </a:schemeClr>
                </a:solidFill>
              </a:rPr>
              <a:t>Shapelets</a:t>
            </a:r>
            <a:r>
              <a:rPr lang="de-DE" sz="1200">
                <a:solidFill>
                  <a:schemeClr val="tx2">
                    <a:lumMod val="75000"/>
                  </a:schemeClr>
                </a:solidFill>
              </a:rPr>
              <a:t>:</a:t>
            </a:r>
          </a:p>
          <a:p>
            <a:pPr marL="742950" lvl="1" indent="-285750">
              <a:lnSpc>
                <a:spcPct val="110000"/>
              </a:lnSpc>
              <a:spcAft>
                <a:spcPts val="1000"/>
              </a:spcAft>
              <a:buFont typeface="Wingdings" panose="05000000000000000000" pitchFamily="2" charset="2"/>
              <a:buChar char="à"/>
            </a:pPr>
            <a:r>
              <a:rPr lang="de-DE" sz="1200">
                <a:solidFill>
                  <a:schemeClr val="tx2">
                    <a:lumMod val="75000"/>
                  </a:schemeClr>
                </a:solidFill>
                <a:sym typeface="Wingdings" panose="05000000000000000000" pitchFamily="2" charset="2"/>
              </a:rPr>
              <a:t>Chaotische Bild im </a:t>
            </a:r>
            <a:r>
              <a:rPr lang="de-DE" sz="1200" err="1">
                <a:solidFill>
                  <a:schemeClr val="tx2">
                    <a:lumMod val="75000"/>
                  </a:schemeClr>
                </a:solidFill>
                <a:sym typeface="Wingdings" panose="05000000000000000000" pitchFamily="2" charset="2"/>
              </a:rPr>
              <a:t>Momement</a:t>
            </a:r>
            <a:endParaRPr lang="de-DE" sz="1200">
              <a:solidFill>
                <a:schemeClr val="tx2">
                  <a:lumMod val="75000"/>
                </a:schemeClr>
              </a:solidFill>
              <a:sym typeface="Wingdings" panose="05000000000000000000" pitchFamily="2" charset="2"/>
            </a:endParaRPr>
          </a:p>
          <a:p>
            <a:pPr marL="742950" lvl="1" indent="-285750">
              <a:lnSpc>
                <a:spcPct val="110000"/>
              </a:lnSpc>
              <a:spcAft>
                <a:spcPts val="1000"/>
              </a:spcAft>
              <a:buFont typeface="Wingdings" panose="05000000000000000000" pitchFamily="2" charset="2"/>
              <a:buChar char="à"/>
            </a:pPr>
            <a:r>
              <a:rPr lang="de-DE" sz="1200" err="1">
                <a:solidFill>
                  <a:schemeClr val="tx2">
                    <a:lumMod val="75000"/>
                  </a:schemeClr>
                </a:solidFill>
                <a:sym typeface="Wingdings" panose="05000000000000000000" pitchFamily="2" charset="2"/>
              </a:rPr>
              <a:t>Shapelets</a:t>
            </a:r>
            <a:r>
              <a:rPr lang="de-DE" sz="1200">
                <a:solidFill>
                  <a:schemeClr val="tx2">
                    <a:lumMod val="75000"/>
                  </a:schemeClr>
                </a:solidFill>
                <a:sym typeface="Wingdings" panose="05000000000000000000" pitchFamily="2" charset="2"/>
              </a:rPr>
              <a:t> sind stark verstreut und lassen kein eindeutiges Bild zu / schwer </a:t>
            </a:r>
            <a:br>
              <a:rPr lang="de-DE" sz="1200">
                <a:solidFill>
                  <a:schemeClr val="tx2">
                    <a:lumMod val="75000"/>
                  </a:schemeClr>
                </a:solidFill>
                <a:sym typeface="Wingdings" panose="05000000000000000000" pitchFamily="2" charset="2"/>
              </a:rPr>
            </a:br>
            <a:r>
              <a:rPr lang="de-DE" sz="1200">
                <a:solidFill>
                  <a:schemeClr val="tx2">
                    <a:lumMod val="75000"/>
                  </a:schemeClr>
                </a:solidFill>
                <a:sym typeface="Wingdings" panose="05000000000000000000" pitchFamily="2" charset="2"/>
              </a:rPr>
              <a:t>zu interpretieren</a:t>
            </a:r>
          </a:p>
          <a:p>
            <a:pPr marL="742950" lvl="1" indent="-285750">
              <a:lnSpc>
                <a:spcPct val="110000"/>
              </a:lnSpc>
              <a:spcAft>
                <a:spcPts val="1000"/>
              </a:spcAft>
              <a:buFont typeface="Wingdings" panose="05000000000000000000" pitchFamily="2" charset="2"/>
              <a:buChar char="à"/>
            </a:pPr>
            <a:r>
              <a:rPr lang="de-DE" sz="1200">
                <a:solidFill>
                  <a:schemeClr val="tx2">
                    <a:lumMod val="75000"/>
                  </a:schemeClr>
                </a:solidFill>
                <a:sym typeface="Wingdings" panose="05000000000000000000" pitchFamily="2" charset="2"/>
              </a:rPr>
              <a:t>Dadurch wenig bis keine Übereinstimmung von ermittelten </a:t>
            </a:r>
            <a:r>
              <a:rPr lang="de-DE" sz="1200" err="1">
                <a:solidFill>
                  <a:schemeClr val="tx2">
                    <a:lumMod val="75000"/>
                  </a:schemeClr>
                </a:solidFill>
                <a:sym typeface="Wingdings" panose="05000000000000000000" pitchFamily="2" charset="2"/>
              </a:rPr>
              <a:t>Shapelets</a:t>
            </a:r>
            <a:r>
              <a:rPr lang="de-DE" sz="1200">
                <a:solidFill>
                  <a:schemeClr val="tx2">
                    <a:lumMod val="75000"/>
                  </a:schemeClr>
                </a:solidFill>
                <a:sym typeface="Wingdings" panose="05000000000000000000" pitchFamily="2" charset="2"/>
              </a:rPr>
              <a:t> und </a:t>
            </a:r>
            <a:br>
              <a:rPr lang="de-DE" sz="1200">
                <a:solidFill>
                  <a:schemeClr val="tx2">
                    <a:lumMod val="75000"/>
                  </a:schemeClr>
                </a:solidFill>
                <a:sym typeface="Wingdings" panose="05000000000000000000" pitchFamily="2" charset="2"/>
              </a:rPr>
            </a:br>
            <a:r>
              <a:rPr lang="de-DE" sz="1200">
                <a:solidFill>
                  <a:schemeClr val="tx2">
                    <a:lumMod val="75000"/>
                  </a:schemeClr>
                </a:solidFill>
                <a:sym typeface="Wingdings" panose="05000000000000000000" pitchFamily="2" charset="2"/>
              </a:rPr>
              <a:t>durch Grad-Cam visualisierten wichtigen Bereichen</a:t>
            </a:r>
          </a:p>
          <a:p>
            <a:pPr lvl="1">
              <a:lnSpc>
                <a:spcPct val="110000"/>
              </a:lnSpc>
              <a:spcAft>
                <a:spcPts val="1000"/>
              </a:spcAft>
            </a:pP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p:txBody>
      </p:sp>
      <p:pic>
        <p:nvPicPr>
          <p:cNvPr id="6" name="Grafik 5">
            <a:extLst>
              <a:ext uri="{FF2B5EF4-FFF2-40B4-BE49-F238E27FC236}">
                <a16:creationId xmlns:a16="http://schemas.microsoft.com/office/drawing/2014/main" id="{5810DCF1-BDF9-007A-03D6-A21C66417274}"/>
              </a:ext>
            </a:extLst>
          </p:cNvPr>
          <p:cNvPicPr>
            <a:picLocks noChangeAspect="1"/>
          </p:cNvPicPr>
          <p:nvPr/>
        </p:nvPicPr>
        <p:blipFill>
          <a:blip r:embed="rId5"/>
          <a:stretch>
            <a:fillRect/>
          </a:stretch>
        </p:blipFill>
        <p:spPr>
          <a:xfrm>
            <a:off x="6800628" y="3654747"/>
            <a:ext cx="4743034" cy="2143376"/>
          </a:xfrm>
          <a:prstGeom prst="rect">
            <a:avLst/>
          </a:prstGeom>
        </p:spPr>
      </p:pic>
    </p:spTree>
    <p:extLst>
      <p:ext uri="{BB962C8B-B14F-4D97-AF65-F5344CB8AC3E}">
        <p14:creationId xmlns:p14="http://schemas.microsoft.com/office/powerpoint/2010/main" val="2073318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76CEA-DC47-927C-6FAF-124DDC600AB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8882501-1A4C-A994-F3D7-B0D29FF423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28882501-1A4C-A994-F3D7-B0D29FF423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2D363114-26C2-4E40-4E1C-5482DD95F890}"/>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F5E6587A-FFD1-B855-58DD-43DA59DA6CAB}"/>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77AD697C-0712-AA5A-557B-930521ABBA2A}"/>
              </a:ext>
            </a:extLst>
          </p:cNvPr>
          <p:cNvSpPr>
            <a:spLocks noGrp="1"/>
          </p:cNvSpPr>
          <p:nvPr>
            <p:ph type="sldNum" sz="quarter" idx="12"/>
          </p:nvPr>
        </p:nvSpPr>
        <p:spPr/>
        <p:txBody>
          <a:bodyPr/>
          <a:lstStyle/>
          <a:p>
            <a:fld id="{02CEFE82-39F2-4F47-8A0C-D5AB3496FA5C}" type="slidenum">
              <a:rPr lang="de-DE" noProof="0" smtClean="0"/>
              <a:pPr/>
              <a:t>15</a:t>
            </a:fld>
            <a:endParaRPr lang="de-DE" noProof="0"/>
          </a:p>
        </p:txBody>
      </p:sp>
      <p:sp>
        <p:nvSpPr>
          <p:cNvPr id="5" name="Titel 4">
            <a:extLst>
              <a:ext uri="{FF2B5EF4-FFF2-40B4-BE49-F238E27FC236}">
                <a16:creationId xmlns:a16="http://schemas.microsoft.com/office/drawing/2014/main" id="{A3056E9A-E01E-353D-CA5C-628561588EE6}"/>
              </a:ext>
            </a:extLst>
          </p:cNvPr>
          <p:cNvSpPr>
            <a:spLocks noGrp="1"/>
          </p:cNvSpPr>
          <p:nvPr>
            <p:ph type="title"/>
          </p:nvPr>
        </p:nvSpPr>
        <p:spPr/>
        <p:txBody>
          <a:bodyPr vert="horz"/>
          <a:lstStyle/>
          <a:p>
            <a:r>
              <a:rPr lang="de-DE"/>
              <a:t>Aktueller Fortschritt</a:t>
            </a:r>
          </a:p>
        </p:txBody>
      </p:sp>
      <p:sp>
        <p:nvSpPr>
          <p:cNvPr id="8" name="Textfeld 7">
            <a:extLst>
              <a:ext uri="{FF2B5EF4-FFF2-40B4-BE49-F238E27FC236}">
                <a16:creationId xmlns:a16="http://schemas.microsoft.com/office/drawing/2014/main" id="{DC4A8780-067E-33FD-402B-AD74F0E4CCAC}"/>
              </a:ext>
            </a:extLst>
          </p:cNvPr>
          <p:cNvSpPr txBox="1"/>
          <p:nvPr/>
        </p:nvSpPr>
        <p:spPr>
          <a:xfrm>
            <a:off x="539751" y="1511370"/>
            <a:ext cx="9669849" cy="4286752"/>
          </a:xfrm>
          <a:prstGeom prst="rect">
            <a:avLst/>
          </a:prstGeom>
          <a:solidFill>
            <a:schemeClr val="bg1"/>
          </a:solidFill>
        </p:spPr>
        <p:txBody>
          <a:bodyPr wrap="square" lIns="0" tIns="0" rIns="0" bIns="0" rtlCol="0">
            <a:noAutofit/>
          </a:bodyPr>
          <a:lstStyle/>
          <a:p>
            <a:pPr algn="l">
              <a:lnSpc>
                <a:spcPct val="110000"/>
              </a:lnSpc>
              <a:spcAft>
                <a:spcPts val="1000"/>
              </a:spcAft>
            </a:pPr>
            <a:r>
              <a:rPr lang="de-DE" sz="1600" b="1">
                <a:solidFill>
                  <a:schemeClr val="tx2">
                    <a:lumMod val="75000"/>
                  </a:schemeClr>
                </a:solidFill>
              </a:rPr>
              <a:t>Abgeschlossen:</a:t>
            </a:r>
          </a:p>
          <a:p>
            <a:pPr marL="171450" indent="-171450" algn="l">
              <a:lnSpc>
                <a:spcPct val="110000"/>
              </a:lnSpc>
              <a:spcAft>
                <a:spcPts val="1000"/>
              </a:spcAft>
              <a:buFont typeface="Arial" panose="020B0604020202020204" pitchFamily="34" charset="0"/>
              <a:buChar char="•"/>
            </a:pPr>
            <a:r>
              <a:rPr lang="de-DE" sz="1200" err="1">
                <a:solidFill>
                  <a:schemeClr val="tx2">
                    <a:lumMod val="75000"/>
                  </a:schemeClr>
                </a:solidFill>
              </a:rPr>
              <a:t>cNN</a:t>
            </a:r>
            <a:r>
              <a:rPr lang="de-DE" sz="1200">
                <a:solidFill>
                  <a:schemeClr val="tx2">
                    <a:lumMod val="75000"/>
                  </a:schemeClr>
                </a:solidFill>
              </a:rPr>
              <a:t> modelliert</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Klassifikation des Coffee Datasets mittels </a:t>
            </a:r>
            <a:r>
              <a:rPr lang="de-DE" sz="1200" err="1">
                <a:solidFill>
                  <a:schemeClr val="tx2">
                    <a:lumMod val="75000"/>
                  </a:schemeClr>
                </a:solidFill>
              </a:rPr>
              <a:t>cNN</a:t>
            </a:r>
            <a:r>
              <a:rPr lang="de-DE" sz="1200">
                <a:solidFill>
                  <a:schemeClr val="tx2">
                    <a:lumMod val="75000"/>
                  </a:schemeClr>
                </a:solidFill>
              </a:rPr>
              <a:t> funktioniert sehr gut</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Visualisierung mittels Grad-Cam funktioniert sehr gut</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Implementierung des Learning </a:t>
            </a:r>
            <a:r>
              <a:rPr lang="de-DE" sz="1200" err="1">
                <a:solidFill>
                  <a:schemeClr val="tx2">
                    <a:lumMod val="75000"/>
                  </a:schemeClr>
                </a:solidFill>
              </a:rPr>
              <a:t>Shapelet</a:t>
            </a:r>
            <a:r>
              <a:rPr lang="de-DE" sz="1200">
                <a:solidFill>
                  <a:schemeClr val="tx2">
                    <a:lumMod val="75000"/>
                  </a:schemeClr>
                </a:solidFill>
              </a:rPr>
              <a:t> Algorithmus durchgeführt</a:t>
            </a:r>
          </a:p>
          <a:p>
            <a:pPr algn="l">
              <a:lnSpc>
                <a:spcPct val="110000"/>
              </a:lnSpc>
              <a:spcAft>
                <a:spcPts val="1000"/>
              </a:spcAft>
            </a:pPr>
            <a:endParaRPr lang="de-DE" sz="700">
              <a:solidFill>
                <a:schemeClr val="tx2">
                  <a:lumMod val="75000"/>
                </a:schemeClr>
              </a:solidFill>
            </a:endParaRPr>
          </a:p>
          <a:p>
            <a:pPr algn="l">
              <a:lnSpc>
                <a:spcPct val="110000"/>
              </a:lnSpc>
              <a:spcAft>
                <a:spcPts val="1000"/>
              </a:spcAft>
            </a:pPr>
            <a:r>
              <a:rPr lang="de-DE" sz="1600" b="1">
                <a:solidFill>
                  <a:schemeClr val="tx2">
                    <a:lumMod val="75000"/>
                  </a:schemeClr>
                </a:solidFill>
              </a:rPr>
              <a:t>Komplikationen:</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Ergebnis von Learning </a:t>
            </a:r>
            <a:r>
              <a:rPr lang="de-DE" sz="1200" err="1">
                <a:solidFill>
                  <a:schemeClr val="tx2">
                    <a:lumMod val="75000"/>
                  </a:schemeClr>
                </a:solidFill>
              </a:rPr>
              <a:t>Shapelets</a:t>
            </a:r>
            <a:r>
              <a:rPr lang="de-DE" sz="1200">
                <a:solidFill>
                  <a:schemeClr val="tx2">
                    <a:lumMod val="75000"/>
                  </a:schemeClr>
                </a:solidFill>
              </a:rPr>
              <a:t>:</a:t>
            </a:r>
          </a:p>
          <a:p>
            <a:pPr marL="742950" lvl="1" indent="-285750">
              <a:lnSpc>
                <a:spcPct val="110000"/>
              </a:lnSpc>
              <a:spcAft>
                <a:spcPts val="1000"/>
              </a:spcAft>
              <a:buFont typeface="Wingdings" panose="05000000000000000000" pitchFamily="2" charset="2"/>
              <a:buChar char="à"/>
            </a:pPr>
            <a:r>
              <a:rPr lang="de-DE" sz="1200">
                <a:solidFill>
                  <a:schemeClr val="tx2">
                    <a:lumMod val="75000"/>
                  </a:schemeClr>
                </a:solidFill>
                <a:sym typeface="Wingdings" panose="05000000000000000000" pitchFamily="2" charset="2"/>
              </a:rPr>
              <a:t>Chaotische Bild im </a:t>
            </a:r>
            <a:r>
              <a:rPr lang="de-DE" sz="1200" err="1">
                <a:solidFill>
                  <a:schemeClr val="tx2">
                    <a:lumMod val="75000"/>
                  </a:schemeClr>
                </a:solidFill>
                <a:sym typeface="Wingdings" panose="05000000000000000000" pitchFamily="2" charset="2"/>
              </a:rPr>
              <a:t>Momement</a:t>
            </a:r>
            <a:endParaRPr lang="de-DE" sz="1200">
              <a:solidFill>
                <a:schemeClr val="tx2">
                  <a:lumMod val="75000"/>
                </a:schemeClr>
              </a:solidFill>
              <a:sym typeface="Wingdings" panose="05000000000000000000" pitchFamily="2" charset="2"/>
            </a:endParaRPr>
          </a:p>
          <a:p>
            <a:pPr marL="742950" lvl="1" indent="-285750">
              <a:lnSpc>
                <a:spcPct val="110000"/>
              </a:lnSpc>
              <a:spcAft>
                <a:spcPts val="1000"/>
              </a:spcAft>
              <a:buFont typeface="Wingdings" panose="05000000000000000000" pitchFamily="2" charset="2"/>
              <a:buChar char="à"/>
            </a:pPr>
            <a:r>
              <a:rPr lang="de-DE" sz="1200" err="1">
                <a:solidFill>
                  <a:schemeClr val="tx2">
                    <a:lumMod val="75000"/>
                  </a:schemeClr>
                </a:solidFill>
                <a:sym typeface="Wingdings" panose="05000000000000000000" pitchFamily="2" charset="2"/>
              </a:rPr>
              <a:t>Shapelets</a:t>
            </a:r>
            <a:r>
              <a:rPr lang="de-DE" sz="1200">
                <a:solidFill>
                  <a:schemeClr val="tx2">
                    <a:lumMod val="75000"/>
                  </a:schemeClr>
                </a:solidFill>
                <a:sym typeface="Wingdings" panose="05000000000000000000" pitchFamily="2" charset="2"/>
              </a:rPr>
              <a:t> sind stark verstreut und lassen kein eindeutiges Bild zu / schwer </a:t>
            </a:r>
            <a:br>
              <a:rPr lang="de-DE" sz="1200">
                <a:solidFill>
                  <a:schemeClr val="tx2">
                    <a:lumMod val="75000"/>
                  </a:schemeClr>
                </a:solidFill>
                <a:sym typeface="Wingdings" panose="05000000000000000000" pitchFamily="2" charset="2"/>
              </a:rPr>
            </a:br>
            <a:r>
              <a:rPr lang="de-DE" sz="1200">
                <a:solidFill>
                  <a:schemeClr val="tx2">
                    <a:lumMod val="75000"/>
                  </a:schemeClr>
                </a:solidFill>
                <a:sym typeface="Wingdings" panose="05000000000000000000" pitchFamily="2" charset="2"/>
              </a:rPr>
              <a:t>zu interpretieren</a:t>
            </a:r>
          </a:p>
          <a:p>
            <a:pPr marL="742950" lvl="1" indent="-285750">
              <a:lnSpc>
                <a:spcPct val="110000"/>
              </a:lnSpc>
              <a:spcAft>
                <a:spcPts val="1000"/>
              </a:spcAft>
              <a:buFont typeface="Wingdings" panose="05000000000000000000" pitchFamily="2" charset="2"/>
              <a:buChar char="à"/>
            </a:pPr>
            <a:r>
              <a:rPr lang="de-DE" sz="1200">
                <a:solidFill>
                  <a:schemeClr val="tx2">
                    <a:lumMod val="75000"/>
                  </a:schemeClr>
                </a:solidFill>
                <a:sym typeface="Wingdings" panose="05000000000000000000" pitchFamily="2" charset="2"/>
              </a:rPr>
              <a:t>Dadurch wenig bis keine Übereinstimmung von ermittelten </a:t>
            </a:r>
            <a:r>
              <a:rPr lang="de-DE" sz="1200" err="1">
                <a:solidFill>
                  <a:schemeClr val="tx2">
                    <a:lumMod val="75000"/>
                  </a:schemeClr>
                </a:solidFill>
                <a:sym typeface="Wingdings" panose="05000000000000000000" pitchFamily="2" charset="2"/>
              </a:rPr>
              <a:t>Shapelets</a:t>
            </a:r>
            <a:r>
              <a:rPr lang="de-DE" sz="1200">
                <a:solidFill>
                  <a:schemeClr val="tx2">
                    <a:lumMod val="75000"/>
                  </a:schemeClr>
                </a:solidFill>
                <a:sym typeface="Wingdings" panose="05000000000000000000" pitchFamily="2" charset="2"/>
              </a:rPr>
              <a:t> und </a:t>
            </a:r>
            <a:br>
              <a:rPr lang="de-DE" sz="1200">
                <a:solidFill>
                  <a:schemeClr val="tx2">
                    <a:lumMod val="75000"/>
                  </a:schemeClr>
                </a:solidFill>
                <a:sym typeface="Wingdings" panose="05000000000000000000" pitchFamily="2" charset="2"/>
              </a:rPr>
            </a:br>
            <a:r>
              <a:rPr lang="de-DE" sz="1200">
                <a:solidFill>
                  <a:schemeClr val="tx2">
                    <a:lumMod val="75000"/>
                  </a:schemeClr>
                </a:solidFill>
                <a:sym typeface="Wingdings" panose="05000000000000000000" pitchFamily="2" charset="2"/>
              </a:rPr>
              <a:t>durch Grad-Cam visualisierten wichtigen Bereichen</a:t>
            </a:r>
          </a:p>
          <a:p>
            <a:pPr lvl="1">
              <a:lnSpc>
                <a:spcPct val="110000"/>
              </a:lnSpc>
              <a:spcAft>
                <a:spcPts val="1000"/>
              </a:spcAft>
            </a:pP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p:txBody>
      </p:sp>
      <p:pic>
        <p:nvPicPr>
          <p:cNvPr id="6" name="Grafik 5">
            <a:extLst>
              <a:ext uri="{FF2B5EF4-FFF2-40B4-BE49-F238E27FC236}">
                <a16:creationId xmlns:a16="http://schemas.microsoft.com/office/drawing/2014/main" id="{4C61D744-883A-28EA-83CD-36FDE651AF38}"/>
              </a:ext>
            </a:extLst>
          </p:cNvPr>
          <p:cNvPicPr>
            <a:picLocks noChangeAspect="1"/>
          </p:cNvPicPr>
          <p:nvPr/>
        </p:nvPicPr>
        <p:blipFill>
          <a:blip r:embed="rId5"/>
          <a:stretch>
            <a:fillRect/>
          </a:stretch>
        </p:blipFill>
        <p:spPr>
          <a:xfrm>
            <a:off x="1538344" y="1276722"/>
            <a:ext cx="10005318" cy="4521401"/>
          </a:xfrm>
          <a:prstGeom prst="rect">
            <a:avLst/>
          </a:prstGeom>
        </p:spPr>
      </p:pic>
    </p:spTree>
    <p:extLst>
      <p:ext uri="{BB962C8B-B14F-4D97-AF65-F5344CB8AC3E}">
        <p14:creationId xmlns:p14="http://schemas.microsoft.com/office/powerpoint/2010/main" val="11789732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11AC90-AAD0-7F8A-AE4C-4E15F8F85EB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8EF1627-A90F-30FE-2CCF-48E47CAB1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F8EF1627-A90F-30FE-2CCF-48E47CAB12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3F32E3AD-017A-D4F0-7863-B3A9A642A252}"/>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EF435644-0D6B-FDE8-2BBF-2EB430C7823E}"/>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20B91A65-D1AE-DE6E-B5FF-64FF8DADD538}"/>
              </a:ext>
            </a:extLst>
          </p:cNvPr>
          <p:cNvSpPr>
            <a:spLocks noGrp="1"/>
          </p:cNvSpPr>
          <p:nvPr>
            <p:ph type="sldNum" sz="quarter" idx="12"/>
          </p:nvPr>
        </p:nvSpPr>
        <p:spPr/>
        <p:txBody>
          <a:bodyPr/>
          <a:lstStyle/>
          <a:p>
            <a:fld id="{02CEFE82-39F2-4F47-8A0C-D5AB3496FA5C}" type="slidenum">
              <a:rPr lang="de-DE" noProof="0" smtClean="0"/>
              <a:pPr/>
              <a:t>16</a:t>
            </a:fld>
            <a:endParaRPr lang="de-DE" noProof="0"/>
          </a:p>
        </p:txBody>
      </p:sp>
      <p:sp>
        <p:nvSpPr>
          <p:cNvPr id="5" name="Titel 4">
            <a:extLst>
              <a:ext uri="{FF2B5EF4-FFF2-40B4-BE49-F238E27FC236}">
                <a16:creationId xmlns:a16="http://schemas.microsoft.com/office/drawing/2014/main" id="{2627C7FD-22D5-C0CF-9824-8F9DC73E6B51}"/>
              </a:ext>
            </a:extLst>
          </p:cNvPr>
          <p:cNvSpPr>
            <a:spLocks noGrp="1"/>
          </p:cNvSpPr>
          <p:nvPr>
            <p:ph type="title"/>
          </p:nvPr>
        </p:nvSpPr>
        <p:spPr/>
        <p:txBody>
          <a:bodyPr vert="horz"/>
          <a:lstStyle/>
          <a:p>
            <a:r>
              <a:rPr lang="de-DE"/>
              <a:t>Aktueller Fortschritt</a:t>
            </a:r>
          </a:p>
        </p:txBody>
      </p:sp>
      <p:sp>
        <p:nvSpPr>
          <p:cNvPr id="8" name="Textfeld 7">
            <a:extLst>
              <a:ext uri="{FF2B5EF4-FFF2-40B4-BE49-F238E27FC236}">
                <a16:creationId xmlns:a16="http://schemas.microsoft.com/office/drawing/2014/main" id="{9B84B081-28BB-382B-6A33-D24D2A499148}"/>
              </a:ext>
            </a:extLst>
          </p:cNvPr>
          <p:cNvSpPr txBox="1"/>
          <p:nvPr/>
        </p:nvSpPr>
        <p:spPr>
          <a:xfrm>
            <a:off x="539751" y="1511370"/>
            <a:ext cx="9669849" cy="4286752"/>
          </a:xfrm>
          <a:prstGeom prst="rect">
            <a:avLst/>
          </a:prstGeom>
          <a:solidFill>
            <a:schemeClr val="bg1"/>
          </a:solidFill>
        </p:spPr>
        <p:txBody>
          <a:bodyPr wrap="square" lIns="0" tIns="0" rIns="0" bIns="0" rtlCol="0">
            <a:noAutofit/>
          </a:bodyPr>
          <a:lstStyle/>
          <a:p>
            <a:pPr algn="l">
              <a:lnSpc>
                <a:spcPct val="110000"/>
              </a:lnSpc>
              <a:spcAft>
                <a:spcPts val="1000"/>
              </a:spcAft>
            </a:pPr>
            <a:r>
              <a:rPr lang="de-DE" sz="1600" b="1">
                <a:solidFill>
                  <a:schemeClr val="tx2">
                    <a:lumMod val="75000"/>
                  </a:schemeClr>
                </a:solidFill>
              </a:rPr>
              <a:t>Abgeschlossen:</a:t>
            </a:r>
          </a:p>
          <a:p>
            <a:pPr marL="171450" indent="-171450" algn="l">
              <a:lnSpc>
                <a:spcPct val="110000"/>
              </a:lnSpc>
              <a:spcAft>
                <a:spcPts val="1000"/>
              </a:spcAft>
              <a:buFont typeface="Arial" panose="020B0604020202020204" pitchFamily="34" charset="0"/>
              <a:buChar char="•"/>
            </a:pPr>
            <a:r>
              <a:rPr lang="de-DE" sz="1200" err="1">
                <a:solidFill>
                  <a:schemeClr val="tx2">
                    <a:lumMod val="75000"/>
                  </a:schemeClr>
                </a:solidFill>
              </a:rPr>
              <a:t>cNN</a:t>
            </a:r>
            <a:r>
              <a:rPr lang="de-DE" sz="1200">
                <a:solidFill>
                  <a:schemeClr val="tx2">
                    <a:lumMod val="75000"/>
                  </a:schemeClr>
                </a:solidFill>
              </a:rPr>
              <a:t> modelliert</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Klassifikation des Coffee Datasets mittels </a:t>
            </a:r>
            <a:r>
              <a:rPr lang="de-DE" sz="1200" err="1">
                <a:solidFill>
                  <a:schemeClr val="tx2">
                    <a:lumMod val="75000"/>
                  </a:schemeClr>
                </a:solidFill>
              </a:rPr>
              <a:t>cNN</a:t>
            </a:r>
            <a:r>
              <a:rPr lang="de-DE" sz="1200">
                <a:solidFill>
                  <a:schemeClr val="tx2">
                    <a:lumMod val="75000"/>
                  </a:schemeClr>
                </a:solidFill>
              </a:rPr>
              <a:t> funktioniert sehr gut</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Visualisierung mittels Grad-Cam funktioniert sehr gut</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Implementierung des Learning </a:t>
            </a:r>
            <a:r>
              <a:rPr lang="de-DE" sz="1200" err="1">
                <a:solidFill>
                  <a:schemeClr val="tx2">
                    <a:lumMod val="75000"/>
                  </a:schemeClr>
                </a:solidFill>
              </a:rPr>
              <a:t>Shapelet</a:t>
            </a:r>
            <a:r>
              <a:rPr lang="de-DE" sz="1200">
                <a:solidFill>
                  <a:schemeClr val="tx2">
                    <a:lumMod val="75000"/>
                  </a:schemeClr>
                </a:solidFill>
              </a:rPr>
              <a:t> Algorithmus durchgeführt</a:t>
            </a:r>
          </a:p>
          <a:p>
            <a:pPr algn="l">
              <a:lnSpc>
                <a:spcPct val="110000"/>
              </a:lnSpc>
              <a:spcAft>
                <a:spcPts val="1000"/>
              </a:spcAft>
            </a:pPr>
            <a:endParaRPr lang="de-DE" sz="700">
              <a:solidFill>
                <a:schemeClr val="tx2">
                  <a:lumMod val="75000"/>
                </a:schemeClr>
              </a:solidFill>
            </a:endParaRPr>
          </a:p>
          <a:p>
            <a:pPr algn="l">
              <a:lnSpc>
                <a:spcPct val="110000"/>
              </a:lnSpc>
              <a:spcAft>
                <a:spcPts val="1000"/>
              </a:spcAft>
            </a:pPr>
            <a:r>
              <a:rPr lang="de-DE" sz="1600" b="1">
                <a:solidFill>
                  <a:schemeClr val="tx2">
                    <a:lumMod val="75000"/>
                  </a:schemeClr>
                </a:solidFill>
              </a:rPr>
              <a:t>Komplikationen:</a:t>
            </a:r>
          </a:p>
          <a:p>
            <a:pPr marL="171450" indent="-171450" algn="l">
              <a:lnSpc>
                <a:spcPct val="110000"/>
              </a:lnSpc>
              <a:spcAft>
                <a:spcPts val="1000"/>
              </a:spcAft>
              <a:buFont typeface="Arial" panose="020B0604020202020204" pitchFamily="34" charset="0"/>
              <a:buChar char="•"/>
            </a:pPr>
            <a:r>
              <a:rPr lang="de-DE" sz="1200">
                <a:solidFill>
                  <a:schemeClr val="tx2">
                    <a:lumMod val="75000"/>
                  </a:schemeClr>
                </a:solidFill>
              </a:rPr>
              <a:t>Ergebnis von Learning </a:t>
            </a:r>
            <a:r>
              <a:rPr lang="de-DE" sz="1200" err="1">
                <a:solidFill>
                  <a:schemeClr val="tx2">
                    <a:lumMod val="75000"/>
                  </a:schemeClr>
                </a:solidFill>
              </a:rPr>
              <a:t>Shapelets</a:t>
            </a:r>
            <a:r>
              <a:rPr lang="de-DE" sz="1200">
                <a:solidFill>
                  <a:schemeClr val="tx2">
                    <a:lumMod val="75000"/>
                  </a:schemeClr>
                </a:solidFill>
              </a:rPr>
              <a:t>:</a:t>
            </a:r>
          </a:p>
          <a:p>
            <a:pPr marL="742950" lvl="1" indent="-285750">
              <a:lnSpc>
                <a:spcPct val="110000"/>
              </a:lnSpc>
              <a:spcAft>
                <a:spcPts val="1000"/>
              </a:spcAft>
              <a:buFont typeface="Wingdings" panose="05000000000000000000" pitchFamily="2" charset="2"/>
              <a:buChar char="à"/>
            </a:pPr>
            <a:r>
              <a:rPr lang="de-DE" sz="1200">
                <a:solidFill>
                  <a:schemeClr val="tx2">
                    <a:lumMod val="75000"/>
                  </a:schemeClr>
                </a:solidFill>
                <a:sym typeface="Wingdings" panose="05000000000000000000" pitchFamily="2" charset="2"/>
              </a:rPr>
              <a:t>Chaotische Bild im </a:t>
            </a:r>
            <a:r>
              <a:rPr lang="de-DE" sz="1200" err="1">
                <a:solidFill>
                  <a:schemeClr val="tx2">
                    <a:lumMod val="75000"/>
                  </a:schemeClr>
                </a:solidFill>
                <a:sym typeface="Wingdings" panose="05000000000000000000" pitchFamily="2" charset="2"/>
              </a:rPr>
              <a:t>Momement</a:t>
            </a:r>
            <a:endParaRPr lang="de-DE" sz="1200">
              <a:solidFill>
                <a:schemeClr val="tx2">
                  <a:lumMod val="75000"/>
                </a:schemeClr>
              </a:solidFill>
              <a:sym typeface="Wingdings" panose="05000000000000000000" pitchFamily="2" charset="2"/>
            </a:endParaRPr>
          </a:p>
          <a:p>
            <a:pPr marL="742950" lvl="1" indent="-285750">
              <a:lnSpc>
                <a:spcPct val="110000"/>
              </a:lnSpc>
              <a:spcAft>
                <a:spcPts val="1000"/>
              </a:spcAft>
              <a:buFont typeface="Wingdings" panose="05000000000000000000" pitchFamily="2" charset="2"/>
              <a:buChar char="à"/>
            </a:pPr>
            <a:r>
              <a:rPr lang="de-DE" sz="1200" err="1">
                <a:solidFill>
                  <a:schemeClr val="tx2">
                    <a:lumMod val="75000"/>
                  </a:schemeClr>
                </a:solidFill>
                <a:sym typeface="Wingdings" panose="05000000000000000000" pitchFamily="2" charset="2"/>
              </a:rPr>
              <a:t>Shapelets</a:t>
            </a:r>
            <a:r>
              <a:rPr lang="de-DE" sz="1200">
                <a:solidFill>
                  <a:schemeClr val="tx2">
                    <a:lumMod val="75000"/>
                  </a:schemeClr>
                </a:solidFill>
                <a:sym typeface="Wingdings" panose="05000000000000000000" pitchFamily="2" charset="2"/>
              </a:rPr>
              <a:t> sind stark verstreut und lassen kein eindeutiges Bild zu / schwer </a:t>
            </a:r>
            <a:br>
              <a:rPr lang="de-DE" sz="1200">
                <a:solidFill>
                  <a:schemeClr val="tx2">
                    <a:lumMod val="75000"/>
                  </a:schemeClr>
                </a:solidFill>
                <a:sym typeface="Wingdings" panose="05000000000000000000" pitchFamily="2" charset="2"/>
              </a:rPr>
            </a:br>
            <a:r>
              <a:rPr lang="de-DE" sz="1200">
                <a:solidFill>
                  <a:schemeClr val="tx2">
                    <a:lumMod val="75000"/>
                  </a:schemeClr>
                </a:solidFill>
                <a:sym typeface="Wingdings" panose="05000000000000000000" pitchFamily="2" charset="2"/>
              </a:rPr>
              <a:t>zu interpretieren</a:t>
            </a:r>
          </a:p>
          <a:p>
            <a:pPr marL="742950" lvl="1" indent="-285750">
              <a:lnSpc>
                <a:spcPct val="110000"/>
              </a:lnSpc>
              <a:spcAft>
                <a:spcPts val="1000"/>
              </a:spcAft>
              <a:buFont typeface="Wingdings" panose="05000000000000000000" pitchFamily="2" charset="2"/>
              <a:buChar char="à"/>
            </a:pPr>
            <a:r>
              <a:rPr lang="de-DE" sz="1200">
                <a:solidFill>
                  <a:schemeClr val="tx2">
                    <a:lumMod val="75000"/>
                  </a:schemeClr>
                </a:solidFill>
                <a:sym typeface="Wingdings" panose="05000000000000000000" pitchFamily="2" charset="2"/>
              </a:rPr>
              <a:t>Dadurch wenig bis keine Übereinstimmung von ermittelten </a:t>
            </a:r>
            <a:r>
              <a:rPr lang="de-DE" sz="1200" err="1">
                <a:solidFill>
                  <a:schemeClr val="tx2">
                    <a:lumMod val="75000"/>
                  </a:schemeClr>
                </a:solidFill>
                <a:sym typeface="Wingdings" panose="05000000000000000000" pitchFamily="2" charset="2"/>
              </a:rPr>
              <a:t>Shapelets</a:t>
            </a:r>
            <a:r>
              <a:rPr lang="de-DE" sz="1200">
                <a:solidFill>
                  <a:schemeClr val="tx2">
                    <a:lumMod val="75000"/>
                  </a:schemeClr>
                </a:solidFill>
                <a:sym typeface="Wingdings" panose="05000000000000000000" pitchFamily="2" charset="2"/>
              </a:rPr>
              <a:t> und </a:t>
            </a:r>
            <a:br>
              <a:rPr lang="de-DE" sz="1200">
                <a:solidFill>
                  <a:schemeClr val="tx2">
                    <a:lumMod val="75000"/>
                  </a:schemeClr>
                </a:solidFill>
                <a:sym typeface="Wingdings" panose="05000000000000000000" pitchFamily="2" charset="2"/>
              </a:rPr>
            </a:br>
            <a:r>
              <a:rPr lang="de-DE" sz="1200">
                <a:solidFill>
                  <a:schemeClr val="tx2">
                    <a:lumMod val="75000"/>
                  </a:schemeClr>
                </a:solidFill>
                <a:sym typeface="Wingdings" panose="05000000000000000000" pitchFamily="2" charset="2"/>
              </a:rPr>
              <a:t>durch Grad-Cam visualisierten wichtigen Bereichen</a:t>
            </a:r>
          </a:p>
          <a:p>
            <a:pPr lvl="1">
              <a:lnSpc>
                <a:spcPct val="110000"/>
              </a:lnSpc>
              <a:spcAft>
                <a:spcPts val="1000"/>
              </a:spcAft>
            </a:pP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p:txBody>
      </p:sp>
      <p:pic>
        <p:nvPicPr>
          <p:cNvPr id="6" name="Grafik 5">
            <a:extLst>
              <a:ext uri="{FF2B5EF4-FFF2-40B4-BE49-F238E27FC236}">
                <a16:creationId xmlns:a16="http://schemas.microsoft.com/office/drawing/2014/main" id="{59C81E7C-190A-16A2-D396-33F5C148DD13}"/>
              </a:ext>
            </a:extLst>
          </p:cNvPr>
          <p:cNvPicPr>
            <a:picLocks noChangeAspect="1"/>
          </p:cNvPicPr>
          <p:nvPr/>
        </p:nvPicPr>
        <p:blipFill>
          <a:blip r:embed="rId5"/>
          <a:stretch>
            <a:fillRect/>
          </a:stretch>
        </p:blipFill>
        <p:spPr>
          <a:xfrm>
            <a:off x="6800628" y="3654747"/>
            <a:ext cx="4743034" cy="2143376"/>
          </a:xfrm>
          <a:prstGeom prst="rect">
            <a:avLst/>
          </a:prstGeom>
        </p:spPr>
      </p:pic>
    </p:spTree>
    <p:extLst>
      <p:ext uri="{BB962C8B-B14F-4D97-AF65-F5344CB8AC3E}">
        <p14:creationId xmlns:p14="http://schemas.microsoft.com/office/powerpoint/2010/main" val="5749582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B89A38-31A4-99EB-0933-171F49ABB3B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444C495-9842-9514-F537-811E30D75F43}"/>
              </a:ext>
            </a:extLst>
          </p:cNvPr>
          <p:cNvGraphicFramePr>
            <a:graphicFrameLocks noChangeAspect="1"/>
          </p:cNvGraphicFramePr>
          <p:nvPr>
            <p:custDataLst>
              <p:tags r:id="rId1"/>
            </p:custDataLst>
            <p:extLst>
              <p:ext uri="{D42A27DB-BD31-4B8C-83A1-F6EECF244321}">
                <p14:modId xmlns:p14="http://schemas.microsoft.com/office/powerpoint/2010/main" val="67911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A444C495-9842-9514-F537-811E30D75F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CBAF7563-4DD8-97F1-838C-67A51506CDA1}"/>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3D31978B-BE10-7BF2-DC87-AEDDC2C99166}"/>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96C79079-E77D-CD98-9D30-1257942C9696}"/>
              </a:ext>
            </a:extLst>
          </p:cNvPr>
          <p:cNvSpPr>
            <a:spLocks noGrp="1"/>
          </p:cNvSpPr>
          <p:nvPr>
            <p:ph type="sldNum" sz="quarter" idx="12"/>
          </p:nvPr>
        </p:nvSpPr>
        <p:spPr/>
        <p:txBody>
          <a:bodyPr/>
          <a:lstStyle/>
          <a:p>
            <a:fld id="{02CEFE82-39F2-4F47-8A0C-D5AB3496FA5C}" type="slidenum">
              <a:rPr lang="de-DE" noProof="0" smtClean="0"/>
              <a:pPr/>
              <a:t>17</a:t>
            </a:fld>
            <a:endParaRPr lang="de-DE" noProof="0"/>
          </a:p>
        </p:txBody>
      </p:sp>
      <p:sp>
        <p:nvSpPr>
          <p:cNvPr id="5" name="Titel 4">
            <a:extLst>
              <a:ext uri="{FF2B5EF4-FFF2-40B4-BE49-F238E27FC236}">
                <a16:creationId xmlns:a16="http://schemas.microsoft.com/office/drawing/2014/main" id="{B8B4FBB3-BAD4-06A6-71EF-C0CCB49A9397}"/>
              </a:ext>
            </a:extLst>
          </p:cNvPr>
          <p:cNvSpPr>
            <a:spLocks noGrp="1"/>
          </p:cNvSpPr>
          <p:nvPr>
            <p:ph type="title"/>
          </p:nvPr>
        </p:nvSpPr>
        <p:spPr/>
        <p:txBody>
          <a:bodyPr vert="horz"/>
          <a:lstStyle/>
          <a:p>
            <a:r>
              <a:rPr lang="de-DE"/>
              <a:t>Nächste Schritte</a:t>
            </a:r>
          </a:p>
        </p:txBody>
      </p:sp>
      <p:sp>
        <p:nvSpPr>
          <p:cNvPr id="8" name="Textfeld 7">
            <a:extLst>
              <a:ext uri="{FF2B5EF4-FFF2-40B4-BE49-F238E27FC236}">
                <a16:creationId xmlns:a16="http://schemas.microsoft.com/office/drawing/2014/main" id="{8E273C2C-5AA6-7023-16DF-5DA8267F0F92}"/>
              </a:ext>
            </a:extLst>
          </p:cNvPr>
          <p:cNvSpPr txBox="1"/>
          <p:nvPr/>
        </p:nvSpPr>
        <p:spPr>
          <a:xfrm>
            <a:off x="539751" y="1674448"/>
            <a:ext cx="9669849" cy="4780270"/>
          </a:xfrm>
          <a:prstGeom prst="rect">
            <a:avLst/>
          </a:prstGeom>
          <a:solidFill>
            <a:schemeClr val="bg1"/>
          </a:solidFill>
        </p:spPr>
        <p:txBody>
          <a:bodyPr wrap="square" lIns="0" tIns="0" rIns="0" bIns="0" rtlCol="0" anchor="t">
            <a:noAutofit/>
          </a:bodyPr>
          <a:lstStyle/>
          <a:p>
            <a:pPr marL="342900" indent="-342900" algn="l">
              <a:lnSpc>
                <a:spcPct val="110000"/>
              </a:lnSpc>
              <a:spcAft>
                <a:spcPts val="1000"/>
              </a:spcAft>
              <a:buAutoNum type="arabicPeriod"/>
            </a:pPr>
            <a:r>
              <a:rPr lang="de-DE" sz="1600" b="1">
                <a:solidFill>
                  <a:schemeClr val="tx2">
                    <a:lumMod val="75000"/>
                  </a:schemeClr>
                </a:solidFill>
              </a:rPr>
              <a:t>Unterschiedliche Datensätze verwenden</a:t>
            </a:r>
            <a:endParaRPr lang="de-DE" sz="1600" b="1">
              <a:solidFill>
                <a:schemeClr val="tx2">
                  <a:lumMod val="75000"/>
                </a:schemeClr>
              </a:solidFill>
              <a:cs typeface="Arial"/>
            </a:endParaRPr>
          </a:p>
          <a:p>
            <a:pPr marL="342900" indent="-342900" algn="l">
              <a:lnSpc>
                <a:spcPct val="110000"/>
              </a:lnSpc>
              <a:spcAft>
                <a:spcPts val="1000"/>
              </a:spcAft>
              <a:buAutoNum type="arabicPeriod"/>
            </a:pPr>
            <a:r>
              <a:rPr lang="de-DE" sz="1600" b="1">
                <a:solidFill>
                  <a:schemeClr val="tx2">
                    <a:lumMod val="75000"/>
                  </a:schemeClr>
                </a:solidFill>
              </a:rPr>
              <a:t>Unterschiedliche Pattern </a:t>
            </a:r>
            <a:r>
              <a:rPr lang="de-DE" sz="1600" b="1" err="1">
                <a:solidFill>
                  <a:schemeClr val="tx2">
                    <a:lumMod val="75000"/>
                  </a:schemeClr>
                </a:solidFill>
              </a:rPr>
              <a:t>Extraction</a:t>
            </a:r>
            <a:r>
              <a:rPr lang="de-DE" sz="1600" b="1">
                <a:solidFill>
                  <a:schemeClr val="tx2">
                    <a:lumMod val="75000"/>
                  </a:schemeClr>
                </a:solidFill>
              </a:rPr>
              <a:t> Ansätze testen</a:t>
            </a:r>
            <a:endParaRPr lang="de-DE" sz="1600" b="1">
              <a:solidFill>
                <a:schemeClr val="tx2">
                  <a:lumMod val="75000"/>
                </a:schemeClr>
              </a:solidFill>
              <a:cs typeface="Arial"/>
            </a:endParaRPr>
          </a:p>
          <a:p>
            <a:pPr marL="342900" indent="-342900" algn="l">
              <a:lnSpc>
                <a:spcPct val="110000"/>
              </a:lnSpc>
              <a:spcAft>
                <a:spcPts val="1000"/>
              </a:spcAft>
              <a:buAutoNum type="arabicPeriod"/>
            </a:pPr>
            <a:r>
              <a:rPr lang="de-DE" sz="1600" b="1">
                <a:solidFill>
                  <a:schemeClr val="tx2">
                    <a:lumMod val="75000"/>
                  </a:schemeClr>
                </a:solidFill>
              </a:rPr>
              <a:t>Zusätzlicher Validierungsansatz neben Grad-Cam</a:t>
            </a:r>
            <a:br>
              <a:rPr lang="de-DE" sz="1600" b="1">
                <a:solidFill>
                  <a:schemeClr val="tx2">
                    <a:lumMod val="75000"/>
                  </a:schemeClr>
                </a:solidFill>
              </a:rPr>
            </a:br>
            <a:r>
              <a:rPr lang="de-DE" sz="1600" b="1">
                <a:solidFill>
                  <a:schemeClr val="tx2">
                    <a:lumMod val="75000"/>
                  </a:schemeClr>
                </a:solidFill>
              </a:rPr>
              <a:t>(Zufällige Bereiche als Baseline</a:t>
            </a:r>
            <a:endParaRPr lang="de-DE" sz="1600" b="1">
              <a:solidFill>
                <a:schemeClr val="tx2">
                  <a:lumMod val="75000"/>
                </a:schemeClr>
              </a:solidFill>
              <a:cs typeface="Arial"/>
            </a:endParaRPr>
          </a:p>
          <a:p>
            <a:pPr marL="342900" indent="-342900" algn="l">
              <a:lnSpc>
                <a:spcPct val="110000"/>
              </a:lnSpc>
              <a:spcAft>
                <a:spcPts val="1000"/>
              </a:spcAft>
              <a:buAutoNum type="arabicPeriod"/>
            </a:pPr>
            <a:endParaRPr lang="de-DE" sz="1600">
              <a:solidFill>
                <a:schemeClr val="tx2">
                  <a:lumMod val="75000"/>
                </a:schemeClr>
              </a:solidFill>
            </a:endParaRPr>
          </a:p>
        </p:txBody>
      </p:sp>
    </p:spTree>
    <p:extLst>
      <p:ext uri="{BB962C8B-B14F-4D97-AF65-F5344CB8AC3E}">
        <p14:creationId xmlns:p14="http://schemas.microsoft.com/office/powerpoint/2010/main" val="6467994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AEFC8-7358-1E90-BCD4-47F19B7DFF0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11B4275-32C0-18DA-5C55-58F6CF062470}"/>
              </a:ext>
            </a:extLst>
          </p:cNvPr>
          <p:cNvGraphicFramePr>
            <a:graphicFrameLocks noChangeAspect="1"/>
          </p:cNvGraphicFramePr>
          <p:nvPr>
            <p:custDataLst>
              <p:tags r:id="rId1"/>
            </p:custDataLst>
            <p:extLst>
              <p:ext uri="{D42A27DB-BD31-4B8C-83A1-F6EECF244321}">
                <p14:modId xmlns:p14="http://schemas.microsoft.com/office/powerpoint/2010/main" val="4281630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D11B4275-32C0-18DA-5C55-58F6CF0624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BD260AB6-8F26-F49E-54FA-6D6C1842DA6D}"/>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71073AFD-F88F-C8BD-D4C7-D515D0A0CBBF}"/>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9B57889E-5C8C-23F8-C220-3D1204D62D42}"/>
              </a:ext>
            </a:extLst>
          </p:cNvPr>
          <p:cNvSpPr>
            <a:spLocks noGrp="1"/>
          </p:cNvSpPr>
          <p:nvPr>
            <p:ph type="sldNum" sz="quarter" idx="12"/>
          </p:nvPr>
        </p:nvSpPr>
        <p:spPr/>
        <p:txBody>
          <a:bodyPr/>
          <a:lstStyle/>
          <a:p>
            <a:fld id="{02CEFE82-39F2-4F47-8A0C-D5AB3496FA5C}" type="slidenum">
              <a:rPr lang="de-DE" noProof="0" smtClean="0"/>
              <a:pPr/>
              <a:t>18</a:t>
            </a:fld>
            <a:endParaRPr lang="de-DE" noProof="0"/>
          </a:p>
        </p:txBody>
      </p:sp>
      <p:sp>
        <p:nvSpPr>
          <p:cNvPr id="5" name="Titel 4">
            <a:extLst>
              <a:ext uri="{FF2B5EF4-FFF2-40B4-BE49-F238E27FC236}">
                <a16:creationId xmlns:a16="http://schemas.microsoft.com/office/drawing/2014/main" id="{349514F3-E272-2F01-0697-B5252197F1D7}"/>
              </a:ext>
            </a:extLst>
          </p:cNvPr>
          <p:cNvSpPr>
            <a:spLocks noGrp="1"/>
          </p:cNvSpPr>
          <p:nvPr>
            <p:ph type="title"/>
          </p:nvPr>
        </p:nvSpPr>
        <p:spPr>
          <a:xfrm>
            <a:off x="978689" y="2690030"/>
            <a:ext cx="10232222" cy="539685"/>
          </a:xfrm>
        </p:spPr>
        <p:txBody>
          <a:bodyPr vert="horz"/>
          <a:lstStyle/>
          <a:p>
            <a:pPr algn="ctr"/>
            <a:r>
              <a:rPr lang="de-DE"/>
              <a:t>Vielen Dank für eure Aufmerksamkeit</a:t>
            </a:r>
          </a:p>
        </p:txBody>
      </p:sp>
      <p:sp>
        <p:nvSpPr>
          <p:cNvPr id="6" name="Textplatzhalter 5">
            <a:extLst>
              <a:ext uri="{FF2B5EF4-FFF2-40B4-BE49-F238E27FC236}">
                <a16:creationId xmlns:a16="http://schemas.microsoft.com/office/drawing/2014/main" id="{225D4E9C-BE2E-D54A-CD85-FC3DD13348C6}"/>
              </a:ext>
            </a:extLst>
          </p:cNvPr>
          <p:cNvSpPr>
            <a:spLocks noGrp="1"/>
          </p:cNvSpPr>
          <p:nvPr>
            <p:ph type="body" sz="quarter" idx="28"/>
          </p:nvPr>
        </p:nvSpPr>
        <p:spPr>
          <a:xfrm>
            <a:off x="990000" y="3363967"/>
            <a:ext cx="10232472" cy="528638"/>
          </a:xfrm>
        </p:spPr>
        <p:txBody>
          <a:bodyPr/>
          <a:lstStyle/>
          <a:p>
            <a:pPr algn="ctr"/>
            <a:r>
              <a:rPr lang="de-DE" b="1">
                <a:solidFill>
                  <a:schemeClr val="accent2"/>
                </a:solidFill>
              </a:rPr>
              <a:t>Seminar: </a:t>
            </a:r>
            <a:r>
              <a:rPr lang="en-US"/>
              <a:t>Explainable Machine Learning for Time Series</a:t>
            </a:r>
            <a:endParaRPr lang="de-DE"/>
          </a:p>
        </p:txBody>
      </p:sp>
    </p:spTree>
    <p:extLst>
      <p:ext uri="{BB962C8B-B14F-4D97-AF65-F5344CB8AC3E}">
        <p14:creationId xmlns:p14="http://schemas.microsoft.com/office/powerpoint/2010/main" val="35082072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AB23F-38FA-70BA-52E2-E83B10519F9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17805C3-867E-5F0C-B718-6596BA47F6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417805C3-867E-5F0C-B718-6596BA47F6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F74972BC-98AA-B145-A1ED-3F08D05B0CC9}"/>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6BDE4BBA-1948-1B8E-91B9-D7751B13712A}"/>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83C3DAE2-6CC7-564F-3F56-FFDBB0556450}"/>
              </a:ext>
            </a:extLst>
          </p:cNvPr>
          <p:cNvSpPr>
            <a:spLocks noGrp="1"/>
          </p:cNvSpPr>
          <p:nvPr>
            <p:ph type="sldNum" sz="quarter" idx="12"/>
          </p:nvPr>
        </p:nvSpPr>
        <p:spPr/>
        <p:txBody>
          <a:bodyPr/>
          <a:lstStyle/>
          <a:p>
            <a:fld id="{02CEFE82-39F2-4F47-8A0C-D5AB3496FA5C}" type="slidenum">
              <a:rPr lang="de-DE" noProof="0" smtClean="0"/>
              <a:pPr/>
              <a:t>19</a:t>
            </a:fld>
            <a:endParaRPr lang="de-DE" noProof="0"/>
          </a:p>
        </p:txBody>
      </p:sp>
      <p:sp>
        <p:nvSpPr>
          <p:cNvPr id="5" name="Titel 4">
            <a:extLst>
              <a:ext uri="{FF2B5EF4-FFF2-40B4-BE49-F238E27FC236}">
                <a16:creationId xmlns:a16="http://schemas.microsoft.com/office/drawing/2014/main" id="{482DC50E-B97A-C130-0DC6-9A8558EA3F75}"/>
              </a:ext>
            </a:extLst>
          </p:cNvPr>
          <p:cNvSpPr>
            <a:spLocks noGrp="1"/>
          </p:cNvSpPr>
          <p:nvPr>
            <p:ph type="title"/>
          </p:nvPr>
        </p:nvSpPr>
        <p:spPr>
          <a:xfrm>
            <a:off x="978689" y="2690030"/>
            <a:ext cx="10232222" cy="539685"/>
          </a:xfrm>
        </p:spPr>
        <p:txBody>
          <a:bodyPr vert="horz"/>
          <a:lstStyle/>
          <a:p>
            <a:pPr algn="ctr"/>
            <a:r>
              <a:rPr lang="de-DE"/>
              <a:t>Back-Up Folien</a:t>
            </a:r>
          </a:p>
        </p:txBody>
      </p:sp>
      <p:sp>
        <p:nvSpPr>
          <p:cNvPr id="6" name="Textplatzhalter 5">
            <a:extLst>
              <a:ext uri="{FF2B5EF4-FFF2-40B4-BE49-F238E27FC236}">
                <a16:creationId xmlns:a16="http://schemas.microsoft.com/office/drawing/2014/main" id="{1F49FA1E-3C4E-2FDD-1397-F708CF71C473}"/>
              </a:ext>
            </a:extLst>
          </p:cNvPr>
          <p:cNvSpPr>
            <a:spLocks noGrp="1"/>
          </p:cNvSpPr>
          <p:nvPr>
            <p:ph type="body" sz="quarter" idx="28"/>
          </p:nvPr>
        </p:nvSpPr>
        <p:spPr>
          <a:xfrm>
            <a:off x="990000" y="3363967"/>
            <a:ext cx="10232472" cy="528638"/>
          </a:xfrm>
        </p:spPr>
        <p:txBody>
          <a:bodyPr/>
          <a:lstStyle/>
          <a:p>
            <a:pPr algn="ctr"/>
            <a:r>
              <a:rPr lang="de-DE"/>
              <a:t>Allgemei</a:t>
            </a:r>
            <a:r>
              <a:rPr lang="de-DE">
                <a:solidFill>
                  <a:schemeClr val="accent2"/>
                </a:solidFill>
              </a:rPr>
              <a:t>ne </a:t>
            </a:r>
            <a:r>
              <a:rPr lang="de-DE"/>
              <a:t>Erkenntnisse und Infos zu </a:t>
            </a:r>
            <a:r>
              <a:rPr lang="de-DE" err="1"/>
              <a:t>Shapelets</a:t>
            </a:r>
            <a:r>
              <a:rPr lang="de-DE"/>
              <a:t> &amp; CNN + Grad-Cam </a:t>
            </a:r>
          </a:p>
        </p:txBody>
      </p:sp>
    </p:spTree>
    <p:extLst>
      <p:ext uri="{BB962C8B-B14F-4D97-AF65-F5344CB8AC3E}">
        <p14:creationId xmlns:p14="http://schemas.microsoft.com/office/powerpoint/2010/main" val="1209905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BB046B8-567F-217C-A19E-983FF60EB0ED}"/>
              </a:ext>
            </a:extLst>
          </p:cNvPr>
          <p:cNvGraphicFramePr>
            <a:graphicFrameLocks noChangeAspect="1"/>
          </p:cNvGraphicFramePr>
          <p:nvPr>
            <p:custDataLst>
              <p:tags r:id="rId1"/>
            </p:custDataLst>
            <p:extLst>
              <p:ext uri="{D42A27DB-BD31-4B8C-83A1-F6EECF244321}">
                <p14:modId xmlns:p14="http://schemas.microsoft.com/office/powerpoint/2010/main" val="4052146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15" name="think-cell data - do not delete" hidden="1">
                        <a:extLst>
                          <a:ext uri="{FF2B5EF4-FFF2-40B4-BE49-F238E27FC236}">
                            <a16:creationId xmlns:a16="http://schemas.microsoft.com/office/drawing/2014/main" id="{EBB046B8-567F-217C-A19E-983FF60EB0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4E6955F-8156-788A-BB23-AFD9CF9300EF}"/>
              </a:ext>
            </a:extLst>
          </p:cNvPr>
          <p:cNvSpPr>
            <a:spLocks noGrp="1"/>
          </p:cNvSpPr>
          <p:nvPr>
            <p:ph type="title"/>
          </p:nvPr>
        </p:nvSpPr>
        <p:spPr/>
        <p:txBody>
          <a:bodyPr vert="horz"/>
          <a:lstStyle/>
          <a:p>
            <a:r>
              <a:rPr lang="de-DE"/>
              <a:t>Zwischenpräsentation - Agenda</a:t>
            </a:r>
          </a:p>
        </p:txBody>
      </p:sp>
      <p:sp>
        <p:nvSpPr>
          <p:cNvPr id="3" name="Datumsplatzhalter 2">
            <a:extLst>
              <a:ext uri="{FF2B5EF4-FFF2-40B4-BE49-F238E27FC236}">
                <a16:creationId xmlns:a16="http://schemas.microsoft.com/office/drawing/2014/main" id="{E9D136A0-D265-654A-0BD8-3065A5794833}"/>
              </a:ext>
            </a:extLst>
          </p:cNvPr>
          <p:cNvSpPr>
            <a:spLocks noGrp="1"/>
          </p:cNvSpPr>
          <p:nvPr>
            <p:ph type="dt" sz="half" idx="29"/>
          </p:nvPr>
        </p:nvSpPr>
        <p:spPr/>
        <p:txBody>
          <a:bodyPr/>
          <a:lstStyle/>
          <a:p>
            <a:fld id="{4680A733-F83D-4D19-AF27-7B0B870C8599}" type="datetime1">
              <a:rPr lang="de-DE" noProof="0" smtClean="0"/>
              <a:t>15.01.2025</a:t>
            </a:fld>
            <a:endParaRPr lang="de-DE" noProof="0"/>
          </a:p>
        </p:txBody>
      </p:sp>
      <p:sp>
        <p:nvSpPr>
          <p:cNvPr id="4" name="Fußzeilenplatzhalter 3">
            <a:extLst>
              <a:ext uri="{FF2B5EF4-FFF2-40B4-BE49-F238E27FC236}">
                <a16:creationId xmlns:a16="http://schemas.microsoft.com/office/drawing/2014/main" id="{454FC087-4007-9985-A6E3-25B43B7DB62A}"/>
              </a:ext>
            </a:extLst>
          </p:cNvPr>
          <p:cNvSpPr>
            <a:spLocks noGrp="1"/>
          </p:cNvSpPr>
          <p:nvPr>
            <p:ph type="ftr" sz="quarter" idx="30"/>
          </p:nvPr>
        </p:nvSpPr>
        <p:spPr/>
        <p:txBody>
          <a:bodyPr/>
          <a:lstStyle/>
          <a:p>
            <a:r>
              <a:rPr lang="de-DE" noProof="0"/>
              <a:t>FZI Forschungszentrum Informatik</a:t>
            </a:r>
          </a:p>
        </p:txBody>
      </p:sp>
      <p:sp>
        <p:nvSpPr>
          <p:cNvPr id="5" name="Foliennummernplatzhalter 4">
            <a:extLst>
              <a:ext uri="{FF2B5EF4-FFF2-40B4-BE49-F238E27FC236}">
                <a16:creationId xmlns:a16="http://schemas.microsoft.com/office/drawing/2014/main" id="{C8E160D0-F53B-7870-2709-0E48B6206BAA}"/>
              </a:ext>
            </a:extLst>
          </p:cNvPr>
          <p:cNvSpPr>
            <a:spLocks noGrp="1"/>
          </p:cNvSpPr>
          <p:nvPr>
            <p:ph type="sldNum" sz="quarter" idx="31"/>
          </p:nvPr>
        </p:nvSpPr>
        <p:spPr/>
        <p:txBody>
          <a:bodyPr/>
          <a:lstStyle/>
          <a:p>
            <a:fld id="{02CEFE82-39F2-4F47-8A0C-D5AB3496FA5C}" type="slidenum">
              <a:rPr lang="de-DE" noProof="0" smtClean="0"/>
              <a:pPr/>
              <a:t>2</a:t>
            </a:fld>
            <a:endParaRPr lang="de-DE" noProof="0"/>
          </a:p>
        </p:txBody>
      </p:sp>
      <p:sp>
        <p:nvSpPr>
          <p:cNvPr id="7" name="Textplatzhalter 6">
            <a:extLst>
              <a:ext uri="{FF2B5EF4-FFF2-40B4-BE49-F238E27FC236}">
                <a16:creationId xmlns:a16="http://schemas.microsoft.com/office/drawing/2014/main" id="{7E505784-F6F5-1BE1-126C-22C0A9F61714}"/>
              </a:ext>
            </a:extLst>
          </p:cNvPr>
          <p:cNvSpPr>
            <a:spLocks noGrp="1"/>
          </p:cNvSpPr>
          <p:nvPr>
            <p:ph type="body" sz="quarter" idx="16"/>
          </p:nvPr>
        </p:nvSpPr>
        <p:spPr/>
        <p:txBody>
          <a:bodyPr/>
          <a:lstStyle/>
          <a:p>
            <a:r>
              <a:rPr lang="de-DE" b="1"/>
              <a:t>Konzept – Pattern </a:t>
            </a:r>
            <a:r>
              <a:rPr lang="de-DE" b="1" err="1"/>
              <a:t>Extraction</a:t>
            </a:r>
            <a:r>
              <a:rPr lang="de-DE" b="1"/>
              <a:t> und Validierung</a:t>
            </a:r>
          </a:p>
        </p:txBody>
      </p:sp>
      <p:sp>
        <p:nvSpPr>
          <p:cNvPr id="8" name="Textplatzhalter 7">
            <a:extLst>
              <a:ext uri="{FF2B5EF4-FFF2-40B4-BE49-F238E27FC236}">
                <a16:creationId xmlns:a16="http://schemas.microsoft.com/office/drawing/2014/main" id="{E2405993-607F-0EBF-F2F1-7BC14F5C69D2}"/>
              </a:ext>
            </a:extLst>
          </p:cNvPr>
          <p:cNvSpPr>
            <a:spLocks noGrp="1"/>
          </p:cNvSpPr>
          <p:nvPr>
            <p:ph type="body" sz="quarter" idx="21"/>
          </p:nvPr>
        </p:nvSpPr>
        <p:spPr>
          <a:xfrm>
            <a:off x="1677271" y="3581516"/>
            <a:ext cx="2364048" cy="816430"/>
          </a:xfrm>
        </p:spPr>
        <p:txBody>
          <a:bodyPr/>
          <a:lstStyle/>
          <a:p>
            <a:r>
              <a:rPr lang="de-DE" b="1"/>
              <a:t>Gesamtkonzept</a:t>
            </a:r>
          </a:p>
        </p:txBody>
      </p:sp>
      <p:sp>
        <p:nvSpPr>
          <p:cNvPr id="9" name="Textplatzhalter 8">
            <a:extLst>
              <a:ext uri="{FF2B5EF4-FFF2-40B4-BE49-F238E27FC236}">
                <a16:creationId xmlns:a16="http://schemas.microsoft.com/office/drawing/2014/main" id="{029FA55E-6EA7-F5F5-F945-D25599857DCC}"/>
              </a:ext>
            </a:extLst>
          </p:cNvPr>
          <p:cNvSpPr>
            <a:spLocks noGrp="1"/>
          </p:cNvSpPr>
          <p:nvPr>
            <p:ph type="body" sz="quarter" idx="22"/>
          </p:nvPr>
        </p:nvSpPr>
        <p:spPr/>
        <p:txBody>
          <a:bodyPr/>
          <a:lstStyle/>
          <a:p>
            <a:r>
              <a:rPr lang="de-DE" b="1"/>
              <a:t>Aktueller Fortschritt</a:t>
            </a:r>
          </a:p>
        </p:txBody>
      </p:sp>
      <p:sp>
        <p:nvSpPr>
          <p:cNvPr id="10" name="Textplatzhalter 9">
            <a:extLst>
              <a:ext uri="{FF2B5EF4-FFF2-40B4-BE49-F238E27FC236}">
                <a16:creationId xmlns:a16="http://schemas.microsoft.com/office/drawing/2014/main" id="{5F4C6D03-65C4-1B84-9711-8F77FF186F21}"/>
              </a:ext>
            </a:extLst>
          </p:cNvPr>
          <p:cNvSpPr>
            <a:spLocks noGrp="1"/>
          </p:cNvSpPr>
          <p:nvPr>
            <p:ph type="body" sz="quarter" idx="25"/>
          </p:nvPr>
        </p:nvSpPr>
        <p:spPr>
          <a:xfrm>
            <a:off x="1572312" y="4899422"/>
            <a:ext cx="2469007" cy="816430"/>
          </a:xfrm>
        </p:spPr>
        <p:txBody>
          <a:bodyPr/>
          <a:lstStyle/>
          <a:p>
            <a:r>
              <a:rPr lang="de-DE" b="1"/>
              <a:t>Konzept - Klassifikation und Analyse von Zeitreihen</a:t>
            </a:r>
          </a:p>
          <a:p>
            <a:endParaRPr lang="de-DE"/>
          </a:p>
        </p:txBody>
      </p:sp>
      <p:sp>
        <p:nvSpPr>
          <p:cNvPr id="13" name="Textplatzhalter 5">
            <a:extLst>
              <a:ext uri="{FF2B5EF4-FFF2-40B4-BE49-F238E27FC236}">
                <a16:creationId xmlns:a16="http://schemas.microsoft.com/office/drawing/2014/main" id="{EE3A5011-4E49-25CC-9CC4-C9FEC0630DD7}"/>
              </a:ext>
            </a:extLst>
          </p:cNvPr>
          <p:cNvSpPr>
            <a:spLocks noGrp="1"/>
          </p:cNvSpPr>
          <p:nvPr>
            <p:ph type="body" sz="quarter" idx="13"/>
          </p:nvPr>
        </p:nvSpPr>
        <p:spPr>
          <a:xfrm>
            <a:off x="1572768" y="2236788"/>
            <a:ext cx="2469007" cy="815975"/>
          </a:xfrm>
        </p:spPr>
        <p:txBody>
          <a:bodyPr/>
          <a:lstStyle/>
          <a:p>
            <a:r>
              <a:rPr lang="de-DE" b="1"/>
              <a:t>Thema und Aufgabenstellung</a:t>
            </a:r>
          </a:p>
        </p:txBody>
      </p:sp>
      <p:sp>
        <p:nvSpPr>
          <p:cNvPr id="16" name="Textplatzhalter 8">
            <a:extLst>
              <a:ext uri="{FF2B5EF4-FFF2-40B4-BE49-F238E27FC236}">
                <a16:creationId xmlns:a16="http://schemas.microsoft.com/office/drawing/2014/main" id="{303FFDAF-DC3C-642E-9162-DB321E3C13D8}"/>
              </a:ext>
            </a:extLst>
          </p:cNvPr>
          <p:cNvSpPr txBox="1">
            <a:spLocks/>
          </p:cNvSpPr>
          <p:nvPr/>
        </p:nvSpPr>
        <p:spPr bwMode="gray">
          <a:xfrm>
            <a:off x="8126902" y="4899422"/>
            <a:ext cx="2921657" cy="816430"/>
          </a:xfrm>
          <a:prstGeom prst="rect">
            <a:avLst/>
          </a:prstGeom>
        </p:spPr>
        <p:txBody>
          <a:bodyPr vert="horz" lIns="0" tIns="0" rIns="0" bIns="0" rtlCol="0" anchor="ctr">
            <a:noAutofit/>
          </a:bodyPr>
          <a:lstStyle>
            <a:lvl1pPr marL="0" marR="0" indent="0" algn="l" defTabSz="914400" rtl="0" eaLnBrk="1" fontAlgn="auto" latinLnBrk="0" hangingPunct="1">
              <a:lnSpc>
                <a:spcPct val="110000"/>
              </a:lnSpc>
              <a:spcBef>
                <a:spcPts val="0"/>
              </a:spcBef>
              <a:spcAft>
                <a:spcPts val="0"/>
              </a:spcAft>
              <a:buClr>
                <a:schemeClr val="tx2">
                  <a:lumMod val="75000"/>
                </a:schemeClr>
              </a:buClr>
              <a:buSzTx/>
              <a:buFont typeface="Wingdings" panose="05000000000000000000" pitchFamily="2" charset="2"/>
              <a:buNone/>
              <a:tabLst/>
              <a:defRPr sz="1600" kern="1200">
                <a:solidFill>
                  <a:schemeClr val="tx2">
                    <a:lumMod val="75000"/>
                  </a:schemeClr>
                </a:solidFill>
                <a:latin typeface="Source Sans Pro" panose="020B0503030403020204" pitchFamily="34" charset="0"/>
                <a:ea typeface="+mn-ea"/>
                <a:cs typeface="+mn-cs"/>
              </a:defRPr>
            </a:lvl1pPr>
            <a:lvl2pPr marL="720000" indent="-270000" algn="l" defTabSz="914400" rtl="0" eaLnBrk="1" latinLnBrk="0" hangingPunct="1">
              <a:lnSpc>
                <a:spcPct val="110000"/>
              </a:lnSpc>
              <a:spcBef>
                <a:spcPts val="0"/>
              </a:spcBef>
              <a:spcAft>
                <a:spcPts val="1000"/>
              </a:spcAft>
              <a:buClr>
                <a:srgbClr val="2FAE7A"/>
              </a:buClr>
              <a:buFont typeface="Source Sans Pro Black" panose="020B0803030403020204" pitchFamily="34" charset="0"/>
              <a:buChar char="‒"/>
              <a:defRPr sz="1400" kern="1200">
                <a:solidFill>
                  <a:schemeClr val="tx2">
                    <a:lumMod val="75000"/>
                  </a:schemeClr>
                </a:solidFill>
                <a:latin typeface="Source Sans Pro" panose="020B0503030403020204" pitchFamily="34" charset="0"/>
                <a:ea typeface="+mn-ea"/>
                <a:cs typeface="+mn-cs"/>
              </a:defRPr>
            </a:lvl2pPr>
            <a:lvl3pPr marL="1080000" indent="-270000" algn="l" defTabSz="914400" rtl="0" eaLnBrk="1" latinLnBrk="0" hangingPunct="1">
              <a:lnSpc>
                <a:spcPct val="110000"/>
              </a:lnSpc>
              <a:spcBef>
                <a:spcPts val="0"/>
              </a:spcBef>
              <a:spcAft>
                <a:spcPts val="1000"/>
              </a:spcAft>
              <a:buClr>
                <a:srgbClr val="2FAE7A"/>
              </a:buClr>
              <a:buFont typeface="Source Sans Pro Black" panose="020B0803030403020204" pitchFamily="34" charset="0"/>
              <a:buChar char="‒"/>
              <a:defRPr sz="1200" kern="1200">
                <a:solidFill>
                  <a:schemeClr val="tx2">
                    <a:lumMod val="75000"/>
                  </a:schemeClr>
                </a:solidFill>
                <a:latin typeface="Source Sans Pro" panose="020B0503030403020204" pitchFamily="34" charset="0"/>
                <a:ea typeface="+mn-ea"/>
                <a:cs typeface="+mn-cs"/>
              </a:defRPr>
            </a:lvl3pPr>
            <a:lvl4pPr marL="1440000" indent="-270000" algn="l" defTabSz="914400" rtl="0" eaLnBrk="1" latinLnBrk="0" hangingPunct="1">
              <a:lnSpc>
                <a:spcPct val="110000"/>
              </a:lnSpc>
              <a:spcBef>
                <a:spcPts val="0"/>
              </a:spcBef>
              <a:spcAft>
                <a:spcPts val="1000"/>
              </a:spcAft>
              <a:buClr>
                <a:srgbClr val="2FAE7A"/>
              </a:buClr>
              <a:buFont typeface="Source Sans Pro Black" panose="020B0803030403020204" pitchFamily="34" charset="0"/>
              <a:buChar char="‒"/>
              <a:defRPr sz="1050" kern="1200">
                <a:solidFill>
                  <a:schemeClr val="tx2">
                    <a:lumMod val="75000"/>
                  </a:schemeClr>
                </a:solidFill>
                <a:latin typeface="Source Sans Pro" panose="020B0503030403020204" pitchFamily="34" charset="0"/>
                <a:ea typeface="+mn-ea"/>
                <a:cs typeface="+mn-cs"/>
              </a:defRPr>
            </a:lvl4pPr>
            <a:lvl5pPr marL="1800000" indent="-270000" algn="l" defTabSz="914400" rtl="0" eaLnBrk="1" latinLnBrk="0" hangingPunct="1">
              <a:lnSpc>
                <a:spcPct val="110000"/>
              </a:lnSpc>
              <a:spcBef>
                <a:spcPts val="0"/>
              </a:spcBef>
              <a:spcAft>
                <a:spcPts val="1000"/>
              </a:spcAft>
              <a:buClr>
                <a:srgbClr val="2FAE7A"/>
              </a:buClr>
              <a:buFont typeface="Source Sans Pro Black" panose="020B0803030403020204" pitchFamily="34" charset="0"/>
              <a:buChar char="‒"/>
              <a:defRPr sz="900" kern="1200">
                <a:solidFill>
                  <a:schemeClr val="tx2">
                    <a:lumMod val="75000"/>
                  </a:schemeClr>
                </a:solidFill>
                <a:latin typeface="Source Sans Pro" panose="020B05030304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a:t>Nächste Schritte</a:t>
            </a:r>
          </a:p>
        </p:txBody>
      </p:sp>
    </p:spTree>
    <p:extLst>
      <p:ext uri="{BB962C8B-B14F-4D97-AF65-F5344CB8AC3E}">
        <p14:creationId xmlns:p14="http://schemas.microsoft.com/office/powerpoint/2010/main" val="42292129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9714C18-896A-6EBF-F73B-EE71A6BD082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C87C984-4E41-3F10-C7A5-AF93521B506C}"/>
              </a:ext>
            </a:extLst>
          </p:cNvPr>
          <p:cNvGraphicFramePr>
            <a:graphicFrameLocks noChangeAspect="1"/>
          </p:cNvGraphicFramePr>
          <p:nvPr>
            <p:custDataLst>
              <p:tags r:id="rId1"/>
            </p:custDataLst>
            <p:extLst>
              <p:ext uri="{D42A27DB-BD31-4B8C-83A1-F6EECF244321}">
                <p14:modId xmlns:p14="http://schemas.microsoft.com/office/powerpoint/2010/main" val="141678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8C87C984-4E41-3F10-C7A5-AF93521B50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A01DF42A-352E-463F-CD5C-65EC6E0012FF}"/>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ACF58F39-7F9F-79AF-A1F8-AE621CCA060D}"/>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D3D70B64-4B45-5394-0823-863C091DCD6E}"/>
              </a:ext>
            </a:extLst>
          </p:cNvPr>
          <p:cNvSpPr>
            <a:spLocks noGrp="1"/>
          </p:cNvSpPr>
          <p:nvPr>
            <p:ph type="sldNum" sz="quarter" idx="12"/>
          </p:nvPr>
        </p:nvSpPr>
        <p:spPr/>
        <p:txBody>
          <a:bodyPr/>
          <a:lstStyle/>
          <a:p>
            <a:fld id="{02CEFE82-39F2-4F47-8A0C-D5AB3496FA5C}" type="slidenum">
              <a:rPr lang="de-DE" noProof="0" smtClean="0"/>
              <a:pPr/>
              <a:t>20</a:t>
            </a:fld>
            <a:endParaRPr lang="de-DE" noProof="0"/>
          </a:p>
        </p:txBody>
      </p:sp>
      <p:sp>
        <p:nvSpPr>
          <p:cNvPr id="5" name="Titel 4">
            <a:extLst>
              <a:ext uri="{FF2B5EF4-FFF2-40B4-BE49-F238E27FC236}">
                <a16:creationId xmlns:a16="http://schemas.microsoft.com/office/drawing/2014/main" id="{2C6946C0-8E17-326B-A195-85488EF7B35A}"/>
              </a:ext>
            </a:extLst>
          </p:cNvPr>
          <p:cNvSpPr>
            <a:spLocks noGrp="1"/>
          </p:cNvSpPr>
          <p:nvPr>
            <p:ph type="title"/>
          </p:nvPr>
        </p:nvSpPr>
        <p:spPr/>
        <p:txBody>
          <a:bodyPr vert="horz"/>
          <a:lstStyle/>
          <a:p>
            <a:r>
              <a:rPr lang="de-DE"/>
              <a:t>Modifikation der Zeitreihen</a:t>
            </a:r>
          </a:p>
        </p:txBody>
      </p:sp>
      <p:sp>
        <p:nvSpPr>
          <p:cNvPr id="8" name="Textfeld 7">
            <a:extLst>
              <a:ext uri="{FF2B5EF4-FFF2-40B4-BE49-F238E27FC236}">
                <a16:creationId xmlns:a16="http://schemas.microsoft.com/office/drawing/2014/main" id="{7C7926B3-5644-B06B-0B61-7A5D9C2231C9}"/>
              </a:ext>
            </a:extLst>
          </p:cNvPr>
          <p:cNvSpPr txBox="1"/>
          <p:nvPr/>
        </p:nvSpPr>
        <p:spPr>
          <a:xfrm>
            <a:off x="8315403" y="3630998"/>
            <a:ext cx="2995285" cy="603911"/>
          </a:xfrm>
          <a:prstGeom prst="rect">
            <a:avLst/>
          </a:prstGeom>
          <a:solidFill>
            <a:schemeClr val="bg1"/>
          </a:solidFill>
        </p:spPr>
        <p:txBody>
          <a:bodyPr wrap="square" lIns="0" tIns="0" rIns="0" bIns="0" rtlCol="0">
            <a:noAutofit/>
          </a:bodyPr>
          <a:lstStyle/>
          <a:p>
            <a:pPr algn="ctr">
              <a:lnSpc>
                <a:spcPct val="110000"/>
              </a:lnSpc>
              <a:spcAft>
                <a:spcPts val="1000"/>
              </a:spcAft>
            </a:pPr>
            <a:endParaRPr lang="de-DE" sz="1400">
              <a:solidFill>
                <a:schemeClr val="tx2">
                  <a:lumMod val="75000"/>
                </a:schemeClr>
              </a:solidFill>
            </a:endParaRPr>
          </a:p>
        </p:txBody>
      </p:sp>
      <p:sp>
        <p:nvSpPr>
          <p:cNvPr id="30" name="Textfeld 29">
            <a:extLst>
              <a:ext uri="{FF2B5EF4-FFF2-40B4-BE49-F238E27FC236}">
                <a16:creationId xmlns:a16="http://schemas.microsoft.com/office/drawing/2014/main" id="{C2876525-2763-D6EB-935D-9B54A15E5313}"/>
              </a:ext>
            </a:extLst>
          </p:cNvPr>
          <p:cNvSpPr txBox="1"/>
          <p:nvPr/>
        </p:nvSpPr>
        <p:spPr>
          <a:xfrm>
            <a:off x="4383157" y="4320370"/>
            <a:ext cx="3659078" cy="476054"/>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Intervall mit </a:t>
            </a:r>
            <a:r>
              <a:rPr lang="de-DE" sz="1400" b="1" err="1">
                <a:solidFill>
                  <a:schemeClr val="tx2">
                    <a:lumMod val="75000"/>
                  </a:schemeClr>
                </a:solidFill>
              </a:rPr>
              <a:t>mean-function</a:t>
            </a:r>
            <a:r>
              <a:rPr lang="de-DE" sz="1400" b="1">
                <a:solidFill>
                  <a:schemeClr val="tx2">
                    <a:lumMod val="75000"/>
                  </a:schemeClr>
                </a:solidFill>
              </a:rPr>
              <a:t> mitteln </a:t>
            </a:r>
          </a:p>
          <a:p>
            <a:pPr>
              <a:lnSpc>
                <a:spcPct val="110000"/>
              </a:lnSpc>
              <a:spcAft>
                <a:spcPts val="1000"/>
              </a:spcAft>
            </a:pPr>
            <a:endParaRPr lang="de-DE" sz="1400">
              <a:solidFill>
                <a:schemeClr val="tx2">
                  <a:lumMod val="75000"/>
                </a:schemeClr>
              </a:solidFill>
            </a:endParaRPr>
          </a:p>
        </p:txBody>
      </p:sp>
      <p:sp>
        <p:nvSpPr>
          <p:cNvPr id="31" name="Textfeld 30">
            <a:extLst>
              <a:ext uri="{FF2B5EF4-FFF2-40B4-BE49-F238E27FC236}">
                <a16:creationId xmlns:a16="http://schemas.microsoft.com/office/drawing/2014/main" id="{06D2D7EB-E465-3D05-FB34-AA2622F9760F}"/>
              </a:ext>
            </a:extLst>
          </p:cNvPr>
          <p:cNvSpPr txBox="1"/>
          <p:nvPr/>
        </p:nvSpPr>
        <p:spPr>
          <a:xfrm>
            <a:off x="638879" y="4319171"/>
            <a:ext cx="3506678" cy="476054"/>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Intervall 30-95</a:t>
            </a:r>
            <a:endParaRPr lang="de-DE" sz="1400">
              <a:solidFill>
                <a:schemeClr val="tx2">
                  <a:lumMod val="75000"/>
                </a:schemeClr>
              </a:solidFill>
            </a:endParaRPr>
          </a:p>
        </p:txBody>
      </p:sp>
      <p:sp>
        <p:nvSpPr>
          <p:cNvPr id="32" name="Textfeld 31">
            <a:extLst>
              <a:ext uri="{FF2B5EF4-FFF2-40B4-BE49-F238E27FC236}">
                <a16:creationId xmlns:a16="http://schemas.microsoft.com/office/drawing/2014/main" id="{CF056912-71AF-6344-B344-AF1EB1DBA2E7}"/>
              </a:ext>
            </a:extLst>
          </p:cNvPr>
          <p:cNvSpPr txBox="1"/>
          <p:nvPr/>
        </p:nvSpPr>
        <p:spPr>
          <a:xfrm>
            <a:off x="8149850" y="4320370"/>
            <a:ext cx="3506678" cy="476054"/>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Modi</a:t>
            </a:r>
            <a:endParaRPr lang="de-DE" sz="1400">
              <a:solidFill>
                <a:schemeClr val="tx2">
                  <a:lumMod val="75000"/>
                </a:schemeClr>
              </a:solidFill>
            </a:endParaRPr>
          </a:p>
          <a:p>
            <a:pPr>
              <a:lnSpc>
                <a:spcPct val="110000"/>
              </a:lnSpc>
              <a:spcAft>
                <a:spcPts val="1000"/>
              </a:spcAft>
            </a:pPr>
            <a:endParaRPr lang="de-DE" sz="1400">
              <a:solidFill>
                <a:schemeClr val="tx2">
                  <a:lumMod val="75000"/>
                </a:schemeClr>
              </a:solidFill>
            </a:endParaRPr>
          </a:p>
        </p:txBody>
      </p:sp>
      <p:cxnSp>
        <p:nvCxnSpPr>
          <p:cNvPr id="33" name="Gerader Verbinder 32">
            <a:extLst>
              <a:ext uri="{FF2B5EF4-FFF2-40B4-BE49-F238E27FC236}">
                <a16:creationId xmlns:a16="http://schemas.microsoft.com/office/drawing/2014/main" id="{831F8F35-5307-6C6C-7834-12A5140DADF3}"/>
              </a:ext>
            </a:extLst>
          </p:cNvPr>
          <p:cNvCxnSpPr>
            <a:cxnSpLocks/>
          </p:cNvCxnSpPr>
          <p:nvPr/>
        </p:nvCxnSpPr>
        <p:spPr>
          <a:xfrm>
            <a:off x="4306941" y="4259062"/>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F9BAB50A-8928-15AC-2031-1AA8BF425A03}"/>
              </a:ext>
            </a:extLst>
          </p:cNvPr>
          <p:cNvCxnSpPr>
            <a:cxnSpLocks/>
          </p:cNvCxnSpPr>
          <p:nvPr/>
        </p:nvCxnSpPr>
        <p:spPr>
          <a:xfrm flipV="1">
            <a:off x="552757" y="4259062"/>
            <a:ext cx="3570950" cy="12526"/>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C45EEA93-6644-4C6C-DDD2-5DE65F07269E}"/>
              </a:ext>
            </a:extLst>
          </p:cNvPr>
          <p:cNvCxnSpPr>
            <a:cxnSpLocks/>
          </p:cNvCxnSpPr>
          <p:nvPr/>
        </p:nvCxnSpPr>
        <p:spPr>
          <a:xfrm>
            <a:off x="8042235" y="4259062"/>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B98F1A04-7C16-3498-82BA-498FFE167C7B}"/>
              </a:ext>
            </a:extLst>
          </p:cNvPr>
          <p:cNvSpPr/>
          <p:nvPr/>
        </p:nvSpPr>
        <p:spPr>
          <a:xfrm>
            <a:off x="1336826" y="5149884"/>
            <a:ext cx="10322605"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r>
              <a:rPr lang="de-DE" sz="1800">
                <a:solidFill>
                  <a:schemeClr val="tx2">
                    <a:lumMod val="75000"/>
                  </a:schemeClr>
                </a:solidFill>
                <a:sym typeface="Wingdings" panose="05000000000000000000" pitchFamily="2" charset="2"/>
              </a:rPr>
              <a:t>  Essentieller </a:t>
            </a:r>
            <a:r>
              <a:rPr lang="de-DE" sz="1800" b="1">
                <a:solidFill>
                  <a:schemeClr val="tx2">
                    <a:lumMod val="75000"/>
                  </a:schemeClr>
                </a:solidFill>
                <a:sym typeface="Wingdings" panose="05000000000000000000" pitchFamily="2" charset="2"/>
              </a:rPr>
              <a:t>Vorteil</a:t>
            </a:r>
            <a:r>
              <a:rPr lang="de-DE" sz="1800">
                <a:solidFill>
                  <a:schemeClr val="tx2">
                    <a:lumMod val="75000"/>
                  </a:schemeClr>
                </a:solidFill>
                <a:sym typeface="Wingdings" panose="05000000000000000000" pitchFamily="2" charset="2"/>
              </a:rPr>
              <a:t> ist die Erklärbarkeit unabhängig vom verwendeten Modell</a:t>
            </a:r>
          </a:p>
        </p:txBody>
      </p:sp>
      <p:sp>
        <p:nvSpPr>
          <p:cNvPr id="37" name="Rechteck 36">
            <a:extLst>
              <a:ext uri="{FF2B5EF4-FFF2-40B4-BE49-F238E27FC236}">
                <a16:creationId xmlns:a16="http://schemas.microsoft.com/office/drawing/2014/main" id="{09FEA0C0-76D3-11F0-AA58-70A479200A3A}"/>
              </a:ext>
            </a:extLst>
          </p:cNvPr>
          <p:cNvSpPr/>
          <p:nvPr/>
        </p:nvSpPr>
        <p:spPr>
          <a:xfrm>
            <a:off x="552757" y="5149883"/>
            <a:ext cx="784069"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endParaRPr lang="de-DE" sz="1800">
              <a:solidFill>
                <a:schemeClr val="tx1"/>
              </a:solidFill>
            </a:endParaRPr>
          </a:p>
        </p:txBody>
      </p:sp>
      <p:pic>
        <p:nvPicPr>
          <p:cNvPr id="38" name="Grafik 37" descr="Hinzufügen mit einfarbiger Füllung">
            <a:extLst>
              <a:ext uri="{FF2B5EF4-FFF2-40B4-BE49-F238E27FC236}">
                <a16:creationId xmlns:a16="http://schemas.microsoft.com/office/drawing/2014/main" id="{091F7657-93A6-330A-999D-1FCC45A68E2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9055" y="5261954"/>
            <a:ext cx="551471" cy="551471"/>
          </a:xfrm>
          <a:prstGeom prst="rect">
            <a:avLst/>
          </a:prstGeom>
        </p:spPr>
      </p:pic>
      <p:sp>
        <p:nvSpPr>
          <p:cNvPr id="21" name="Rechteck 20">
            <a:extLst>
              <a:ext uri="{FF2B5EF4-FFF2-40B4-BE49-F238E27FC236}">
                <a16:creationId xmlns:a16="http://schemas.microsoft.com/office/drawing/2014/main" id="{F831E898-C28F-2DED-0F4E-FD4D0B712FD0}"/>
              </a:ext>
            </a:extLst>
          </p:cNvPr>
          <p:cNvSpPr/>
          <p:nvPr/>
        </p:nvSpPr>
        <p:spPr>
          <a:xfrm>
            <a:off x="542926" y="1722628"/>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Basis: </a:t>
            </a:r>
            <a:r>
              <a:rPr lang="de-DE" err="1"/>
              <a:t>significant</a:t>
            </a:r>
            <a:r>
              <a:rPr lang="de-DE"/>
              <a:t> </a:t>
            </a:r>
            <a:r>
              <a:rPr lang="de-DE" err="1"/>
              <a:t>intervals</a:t>
            </a:r>
            <a:r>
              <a:rPr lang="de-DE"/>
              <a:t> </a:t>
            </a:r>
            <a:r>
              <a:rPr lang="de-DE" err="1"/>
              <a:t>for</a:t>
            </a:r>
            <a:r>
              <a:rPr lang="de-DE"/>
              <a:t> </a:t>
            </a:r>
            <a:r>
              <a:rPr lang="de-DE" err="1"/>
              <a:t>classification</a:t>
            </a:r>
            <a:r>
              <a:rPr lang="de-DE" b="1"/>
              <a:t> </a:t>
            </a:r>
            <a:endParaRPr lang="de-DE"/>
          </a:p>
        </p:txBody>
      </p:sp>
      <p:sp>
        <p:nvSpPr>
          <p:cNvPr id="22" name="Rechteck 21">
            <a:extLst>
              <a:ext uri="{FF2B5EF4-FFF2-40B4-BE49-F238E27FC236}">
                <a16:creationId xmlns:a16="http://schemas.microsoft.com/office/drawing/2014/main" id="{6F6597F8-A596-1C68-6879-59C82FF7C727}"/>
              </a:ext>
            </a:extLst>
          </p:cNvPr>
          <p:cNvSpPr/>
          <p:nvPr/>
        </p:nvSpPr>
        <p:spPr>
          <a:xfrm>
            <a:off x="4304816" y="1722628"/>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err="1">
                <a:solidFill>
                  <a:schemeClr val="bg1"/>
                </a:solidFill>
              </a:rPr>
              <a:t>Modification</a:t>
            </a:r>
            <a:r>
              <a:rPr lang="de-DE">
                <a:solidFill>
                  <a:schemeClr val="bg1"/>
                </a:solidFill>
              </a:rPr>
              <a:t> </a:t>
            </a:r>
            <a:r>
              <a:rPr lang="de-DE" err="1">
                <a:solidFill>
                  <a:schemeClr val="bg1"/>
                </a:solidFill>
              </a:rPr>
              <a:t>of</a:t>
            </a:r>
            <a:r>
              <a:rPr lang="de-DE">
                <a:solidFill>
                  <a:schemeClr val="bg1"/>
                </a:solidFill>
              </a:rPr>
              <a:t> time </a:t>
            </a:r>
            <a:r>
              <a:rPr lang="de-DE" err="1">
                <a:solidFill>
                  <a:schemeClr val="bg1"/>
                </a:solidFill>
              </a:rPr>
              <a:t>series</a:t>
            </a:r>
            <a:endParaRPr lang="de-DE">
              <a:solidFill>
                <a:schemeClr val="bg1"/>
              </a:solidFill>
            </a:endParaRPr>
          </a:p>
        </p:txBody>
      </p:sp>
      <p:sp>
        <p:nvSpPr>
          <p:cNvPr id="23" name="Rechteck 22">
            <a:extLst>
              <a:ext uri="{FF2B5EF4-FFF2-40B4-BE49-F238E27FC236}">
                <a16:creationId xmlns:a16="http://schemas.microsoft.com/office/drawing/2014/main" id="{C7F15286-D386-9B81-A979-55ACB3E27335}"/>
              </a:ext>
            </a:extLst>
          </p:cNvPr>
          <p:cNvSpPr/>
          <p:nvPr/>
        </p:nvSpPr>
        <p:spPr>
          <a:xfrm>
            <a:off x="8066706" y="1722627"/>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err="1"/>
              <a:t>Result</a:t>
            </a:r>
            <a:r>
              <a:rPr lang="de-DE" b="1"/>
              <a:t>: </a:t>
            </a:r>
            <a:r>
              <a:rPr lang="de-DE" err="1"/>
              <a:t>modified</a:t>
            </a:r>
            <a:r>
              <a:rPr lang="de-DE"/>
              <a:t> time </a:t>
            </a:r>
            <a:r>
              <a:rPr lang="de-DE" err="1"/>
              <a:t>series</a:t>
            </a:r>
            <a:r>
              <a:rPr lang="de-DE"/>
              <a:t> </a:t>
            </a:r>
            <a:br>
              <a:rPr lang="de-DE"/>
            </a:br>
            <a:r>
              <a:rPr lang="de-DE" err="1"/>
              <a:t>for</a:t>
            </a:r>
            <a:r>
              <a:rPr lang="de-DE"/>
              <a:t> </a:t>
            </a:r>
            <a:r>
              <a:rPr lang="de-DE" err="1"/>
              <a:t>classification</a:t>
            </a:r>
            <a:r>
              <a:rPr lang="de-DE"/>
              <a:t> </a:t>
            </a:r>
            <a:r>
              <a:rPr lang="de-DE" err="1"/>
              <a:t>step</a:t>
            </a:r>
            <a:r>
              <a:rPr lang="de-DE"/>
              <a:t> </a:t>
            </a:r>
            <a:br>
              <a:rPr lang="de-DE"/>
            </a:br>
            <a:r>
              <a:rPr lang="de-DE"/>
              <a:t>(</a:t>
            </a:r>
            <a:r>
              <a:rPr lang="de-DE" err="1"/>
              <a:t>new</a:t>
            </a:r>
            <a:r>
              <a:rPr lang="de-DE"/>
              <a:t> </a:t>
            </a:r>
            <a:r>
              <a:rPr lang="de-DE" err="1"/>
              <a:t>test</a:t>
            </a:r>
            <a:r>
              <a:rPr lang="de-DE"/>
              <a:t> </a:t>
            </a:r>
            <a:r>
              <a:rPr lang="de-DE" err="1"/>
              <a:t>data</a:t>
            </a:r>
            <a:r>
              <a:rPr lang="de-DE"/>
              <a:t> </a:t>
            </a:r>
            <a:r>
              <a:rPr lang="de-DE" err="1"/>
              <a:t>set</a:t>
            </a:r>
            <a:r>
              <a:rPr lang="de-DE"/>
              <a:t>)   </a:t>
            </a:r>
          </a:p>
        </p:txBody>
      </p:sp>
      <p:sp>
        <p:nvSpPr>
          <p:cNvPr id="9" name="Textplatzhalter 5">
            <a:extLst>
              <a:ext uri="{FF2B5EF4-FFF2-40B4-BE49-F238E27FC236}">
                <a16:creationId xmlns:a16="http://schemas.microsoft.com/office/drawing/2014/main" id="{0911BD29-DC3E-77F9-5F40-6E04DC5EDCB0}"/>
              </a:ext>
            </a:extLst>
          </p:cNvPr>
          <p:cNvSpPr>
            <a:spLocks noGrp="1"/>
          </p:cNvSpPr>
          <p:nvPr>
            <p:ph type="body" sz="quarter" idx="28"/>
          </p:nvPr>
        </p:nvSpPr>
        <p:spPr>
          <a:xfrm>
            <a:off x="539751" y="971685"/>
            <a:ext cx="10232472" cy="528638"/>
          </a:xfrm>
        </p:spPr>
        <p:txBody>
          <a:bodyPr/>
          <a:lstStyle/>
          <a:p>
            <a:r>
              <a:rPr lang="de-DE"/>
              <a:t>Auf Basis der Ergebnisse von Grad-Cam und Pattern </a:t>
            </a:r>
            <a:r>
              <a:rPr lang="de-DE" err="1"/>
              <a:t>Extraction</a:t>
            </a:r>
            <a:r>
              <a:rPr lang="de-DE"/>
              <a:t> </a:t>
            </a:r>
          </a:p>
        </p:txBody>
      </p:sp>
      <p:sp>
        <p:nvSpPr>
          <p:cNvPr id="10" name="Textfeld 9">
            <a:extLst>
              <a:ext uri="{FF2B5EF4-FFF2-40B4-BE49-F238E27FC236}">
                <a16:creationId xmlns:a16="http://schemas.microsoft.com/office/drawing/2014/main" id="{84B76948-9691-6121-4AB4-CF5518BDB91D}"/>
              </a:ext>
            </a:extLst>
          </p:cNvPr>
          <p:cNvSpPr txBox="1"/>
          <p:nvPr/>
        </p:nvSpPr>
        <p:spPr>
          <a:xfrm>
            <a:off x="737559" y="2923137"/>
            <a:ext cx="3309317" cy="913135"/>
          </a:xfrm>
          <a:prstGeom prst="rect">
            <a:avLst/>
          </a:prstGeom>
          <a:solidFill>
            <a:srgbClr val="FFC000"/>
          </a:solidFill>
        </p:spPr>
        <p:txBody>
          <a:bodyPr wrap="square">
            <a:spAutoFit/>
          </a:bodyPr>
          <a:lstStyle/>
          <a:p>
            <a:pPr lvl="1">
              <a:lnSpc>
                <a:spcPct val="110000"/>
              </a:lnSpc>
              <a:spcAft>
                <a:spcPts val="1000"/>
              </a:spcAft>
            </a:pPr>
            <a:r>
              <a:rPr lang="de-DE" sz="1400">
                <a:solidFill>
                  <a:schemeClr val="tx2">
                    <a:lumMod val="75000"/>
                  </a:schemeClr>
                </a:solidFill>
                <a:sym typeface="Wingdings" panose="05000000000000000000" pitchFamily="2" charset="2"/>
              </a:rPr>
              <a:t>Bild signifikanter Bereich </a:t>
            </a:r>
          </a:p>
          <a:p>
            <a:pPr lvl="1">
              <a:lnSpc>
                <a:spcPct val="110000"/>
              </a:lnSpc>
              <a:spcAft>
                <a:spcPts val="1000"/>
              </a:spcAft>
            </a:pPr>
            <a:r>
              <a:rPr lang="de-DE" sz="1400">
                <a:solidFill>
                  <a:schemeClr val="tx2">
                    <a:lumMod val="75000"/>
                  </a:schemeClr>
                </a:solidFill>
                <a:sym typeface="Wingdings" panose="05000000000000000000" pitchFamily="2" charset="2"/>
              </a:rPr>
              <a:t>(1x von Grad Cam)</a:t>
            </a:r>
            <a:br>
              <a:rPr lang="de-DE" sz="1400">
                <a:solidFill>
                  <a:schemeClr val="tx2">
                    <a:lumMod val="75000"/>
                  </a:schemeClr>
                </a:solidFill>
                <a:sym typeface="Wingdings" panose="05000000000000000000" pitchFamily="2" charset="2"/>
              </a:rPr>
            </a:br>
            <a:r>
              <a:rPr lang="de-DE" sz="1400">
                <a:solidFill>
                  <a:schemeClr val="tx2">
                    <a:lumMod val="75000"/>
                  </a:schemeClr>
                </a:solidFill>
                <a:sym typeface="Wingdings" panose="05000000000000000000" pitchFamily="2" charset="2"/>
              </a:rPr>
              <a:t>(1x von Pattern Extractor)</a:t>
            </a:r>
          </a:p>
        </p:txBody>
      </p:sp>
    </p:spTree>
    <p:extLst>
      <p:ext uri="{BB962C8B-B14F-4D97-AF65-F5344CB8AC3E}">
        <p14:creationId xmlns:p14="http://schemas.microsoft.com/office/powerpoint/2010/main" val="27789350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81329B6-1360-ADE2-8B87-012A9C932C7E}"/>
              </a:ext>
            </a:extLst>
          </p:cNvPr>
          <p:cNvGraphicFramePr>
            <a:graphicFrameLocks noChangeAspect="1"/>
          </p:cNvGraphicFramePr>
          <p:nvPr>
            <p:custDataLst>
              <p:tags r:id="rId1"/>
            </p:custDataLst>
            <p:extLst>
              <p:ext uri="{D42A27DB-BD31-4B8C-83A1-F6EECF244321}">
                <p14:modId xmlns:p14="http://schemas.microsoft.com/office/powerpoint/2010/main" val="16628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8" name="think-cell data - do not delete" hidden="1">
                        <a:extLst>
                          <a:ext uri="{FF2B5EF4-FFF2-40B4-BE49-F238E27FC236}">
                            <a16:creationId xmlns:a16="http://schemas.microsoft.com/office/drawing/2014/main" id="{981329B6-1360-ADE2-8B87-012A9C932C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Rechteck 32">
            <a:extLst>
              <a:ext uri="{FF2B5EF4-FFF2-40B4-BE49-F238E27FC236}">
                <a16:creationId xmlns:a16="http://schemas.microsoft.com/office/drawing/2014/main" id="{CB9B840D-FDC6-0F1D-E6D9-689349A09FC7}"/>
              </a:ext>
            </a:extLst>
          </p:cNvPr>
          <p:cNvSpPr/>
          <p:nvPr/>
        </p:nvSpPr>
        <p:spPr>
          <a:xfrm flipV="1">
            <a:off x="4323568" y="2939025"/>
            <a:ext cx="2516966" cy="236198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de-DE"/>
          </a:p>
        </p:txBody>
      </p:sp>
      <p:sp>
        <p:nvSpPr>
          <p:cNvPr id="3" name="Titel 2">
            <a:extLst>
              <a:ext uri="{FF2B5EF4-FFF2-40B4-BE49-F238E27FC236}">
                <a16:creationId xmlns:a16="http://schemas.microsoft.com/office/drawing/2014/main" id="{C9F94792-31D1-7395-9620-912FB5B97938}"/>
              </a:ext>
            </a:extLst>
          </p:cNvPr>
          <p:cNvSpPr>
            <a:spLocks noGrp="1"/>
          </p:cNvSpPr>
          <p:nvPr>
            <p:ph type="title"/>
          </p:nvPr>
        </p:nvSpPr>
        <p:spPr/>
        <p:txBody>
          <a:bodyPr vert="horz"/>
          <a:lstStyle/>
          <a:p>
            <a:r>
              <a:rPr lang="de-DE"/>
              <a:t>Konzepte im Überblick</a:t>
            </a:r>
          </a:p>
        </p:txBody>
      </p:sp>
      <p:sp>
        <p:nvSpPr>
          <p:cNvPr id="4" name="Datumsplatzhalter 3">
            <a:extLst>
              <a:ext uri="{FF2B5EF4-FFF2-40B4-BE49-F238E27FC236}">
                <a16:creationId xmlns:a16="http://schemas.microsoft.com/office/drawing/2014/main" id="{4350DA63-94D0-2690-5318-53F436B9D350}"/>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5" name="Fußzeilenplatzhalter 4">
            <a:extLst>
              <a:ext uri="{FF2B5EF4-FFF2-40B4-BE49-F238E27FC236}">
                <a16:creationId xmlns:a16="http://schemas.microsoft.com/office/drawing/2014/main" id="{925D5C32-5917-EF83-058C-6FB976569B5E}"/>
              </a:ext>
            </a:extLst>
          </p:cNvPr>
          <p:cNvSpPr>
            <a:spLocks noGrp="1"/>
          </p:cNvSpPr>
          <p:nvPr>
            <p:ph type="ftr" sz="quarter" idx="11"/>
          </p:nvPr>
        </p:nvSpPr>
        <p:spPr/>
        <p:txBody>
          <a:bodyPr/>
          <a:lstStyle/>
          <a:p>
            <a:r>
              <a:rPr lang="de-DE" noProof="0"/>
              <a:t>FZI Forschungszentrum Informatik</a:t>
            </a:r>
          </a:p>
        </p:txBody>
      </p:sp>
      <p:sp>
        <p:nvSpPr>
          <p:cNvPr id="6" name="Foliennummernplatzhalter 5">
            <a:extLst>
              <a:ext uri="{FF2B5EF4-FFF2-40B4-BE49-F238E27FC236}">
                <a16:creationId xmlns:a16="http://schemas.microsoft.com/office/drawing/2014/main" id="{E08A391E-3C68-177D-57B8-829891AB4E01}"/>
              </a:ext>
            </a:extLst>
          </p:cNvPr>
          <p:cNvSpPr>
            <a:spLocks noGrp="1"/>
          </p:cNvSpPr>
          <p:nvPr>
            <p:ph type="sldNum" sz="quarter" idx="12"/>
          </p:nvPr>
        </p:nvSpPr>
        <p:spPr/>
        <p:txBody>
          <a:bodyPr/>
          <a:lstStyle/>
          <a:p>
            <a:fld id="{02CEFE82-39F2-4F47-8A0C-D5AB3496FA5C}" type="slidenum">
              <a:rPr lang="de-DE" noProof="0" smtClean="0"/>
              <a:pPr/>
              <a:t>21</a:t>
            </a:fld>
            <a:endParaRPr lang="de-DE" noProof="0"/>
          </a:p>
        </p:txBody>
      </p:sp>
      <p:sp>
        <p:nvSpPr>
          <p:cNvPr id="9" name="Rechteck 8">
            <a:extLst>
              <a:ext uri="{FF2B5EF4-FFF2-40B4-BE49-F238E27FC236}">
                <a16:creationId xmlns:a16="http://schemas.microsoft.com/office/drawing/2014/main" id="{335E866C-319F-CBCB-93FB-EE69F313D020}"/>
              </a:ext>
            </a:extLst>
          </p:cNvPr>
          <p:cNvSpPr/>
          <p:nvPr/>
        </p:nvSpPr>
        <p:spPr>
          <a:xfrm>
            <a:off x="8703011" y="1945575"/>
            <a:ext cx="884511" cy="4770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CNN</a:t>
            </a:r>
          </a:p>
        </p:txBody>
      </p:sp>
      <p:sp>
        <p:nvSpPr>
          <p:cNvPr id="10" name="Rechteck 9">
            <a:extLst>
              <a:ext uri="{FF2B5EF4-FFF2-40B4-BE49-F238E27FC236}">
                <a16:creationId xmlns:a16="http://schemas.microsoft.com/office/drawing/2014/main" id="{471D62EE-B40C-B539-B3A7-68DD8572BB3A}"/>
              </a:ext>
            </a:extLst>
          </p:cNvPr>
          <p:cNvSpPr/>
          <p:nvPr/>
        </p:nvSpPr>
        <p:spPr>
          <a:xfrm>
            <a:off x="885630" y="1945618"/>
            <a:ext cx="1382499" cy="4770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Time Series</a:t>
            </a:r>
          </a:p>
        </p:txBody>
      </p:sp>
      <p:sp>
        <p:nvSpPr>
          <p:cNvPr id="11" name="Rechteck 10">
            <a:extLst>
              <a:ext uri="{FF2B5EF4-FFF2-40B4-BE49-F238E27FC236}">
                <a16:creationId xmlns:a16="http://schemas.microsoft.com/office/drawing/2014/main" id="{32D6488F-7E6E-8F73-1EF2-D88A22CBB104}"/>
              </a:ext>
            </a:extLst>
          </p:cNvPr>
          <p:cNvSpPr/>
          <p:nvPr/>
        </p:nvSpPr>
        <p:spPr>
          <a:xfrm>
            <a:off x="9776316" y="1945573"/>
            <a:ext cx="1795131" cy="4770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Classification</a:t>
            </a:r>
          </a:p>
        </p:txBody>
      </p:sp>
      <p:sp>
        <p:nvSpPr>
          <p:cNvPr id="12" name="Rechteck 11">
            <a:extLst>
              <a:ext uri="{FF2B5EF4-FFF2-40B4-BE49-F238E27FC236}">
                <a16:creationId xmlns:a16="http://schemas.microsoft.com/office/drawing/2014/main" id="{190EEA62-B572-B3C4-521D-F60BB73208D4}"/>
              </a:ext>
            </a:extLst>
          </p:cNvPr>
          <p:cNvSpPr/>
          <p:nvPr/>
        </p:nvSpPr>
        <p:spPr>
          <a:xfrm>
            <a:off x="885628" y="2992502"/>
            <a:ext cx="1382499" cy="4770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Time Series</a:t>
            </a:r>
          </a:p>
        </p:txBody>
      </p:sp>
      <p:sp>
        <p:nvSpPr>
          <p:cNvPr id="13" name="Rechteck 12">
            <a:extLst>
              <a:ext uri="{FF2B5EF4-FFF2-40B4-BE49-F238E27FC236}">
                <a16:creationId xmlns:a16="http://schemas.microsoft.com/office/drawing/2014/main" id="{FFFAF096-B5AD-F04F-159B-E642A469E4A0}"/>
              </a:ext>
            </a:extLst>
          </p:cNvPr>
          <p:cNvSpPr/>
          <p:nvPr/>
        </p:nvSpPr>
        <p:spPr>
          <a:xfrm>
            <a:off x="8703010" y="2992504"/>
            <a:ext cx="884511" cy="4770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CNN</a:t>
            </a:r>
          </a:p>
        </p:txBody>
      </p:sp>
      <p:sp>
        <p:nvSpPr>
          <p:cNvPr id="14" name="Rechteck 13">
            <a:extLst>
              <a:ext uri="{FF2B5EF4-FFF2-40B4-BE49-F238E27FC236}">
                <a16:creationId xmlns:a16="http://schemas.microsoft.com/office/drawing/2014/main" id="{961670C4-7BDD-DA85-41C8-A662BABCA4EF}"/>
              </a:ext>
            </a:extLst>
          </p:cNvPr>
          <p:cNvSpPr/>
          <p:nvPr/>
        </p:nvSpPr>
        <p:spPr>
          <a:xfrm>
            <a:off x="9776315" y="2992502"/>
            <a:ext cx="1795131" cy="4770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Classification</a:t>
            </a:r>
          </a:p>
        </p:txBody>
      </p:sp>
      <p:sp>
        <p:nvSpPr>
          <p:cNvPr id="15" name="Rechteck 14">
            <a:extLst>
              <a:ext uri="{FF2B5EF4-FFF2-40B4-BE49-F238E27FC236}">
                <a16:creationId xmlns:a16="http://schemas.microsoft.com/office/drawing/2014/main" id="{CF5DA2BD-8F33-CA34-5957-CB5483B39735}"/>
              </a:ext>
            </a:extLst>
          </p:cNvPr>
          <p:cNvSpPr/>
          <p:nvPr/>
        </p:nvSpPr>
        <p:spPr>
          <a:xfrm>
            <a:off x="885630" y="4390507"/>
            <a:ext cx="1382499" cy="4770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Time Series</a:t>
            </a:r>
          </a:p>
        </p:txBody>
      </p:sp>
      <p:sp>
        <p:nvSpPr>
          <p:cNvPr id="16" name="Rechteck 15">
            <a:extLst>
              <a:ext uri="{FF2B5EF4-FFF2-40B4-BE49-F238E27FC236}">
                <a16:creationId xmlns:a16="http://schemas.microsoft.com/office/drawing/2014/main" id="{5067974E-7DC0-82DB-EB12-13C99314C0C0}"/>
              </a:ext>
            </a:extLst>
          </p:cNvPr>
          <p:cNvSpPr/>
          <p:nvPr/>
        </p:nvSpPr>
        <p:spPr>
          <a:xfrm>
            <a:off x="8703012" y="4390509"/>
            <a:ext cx="884511" cy="4770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CNN</a:t>
            </a:r>
          </a:p>
        </p:txBody>
      </p:sp>
      <p:sp>
        <p:nvSpPr>
          <p:cNvPr id="17" name="Rechteck 16">
            <a:extLst>
              <a:ext uri="{FF2B5EF4-FFF2-40B4-BE49-F238E27FC236}">
                <a16:creationId xmlns:a16="http://schemas.microsoft.com/office/drawing/2014/main" id="{92661E7D-EF60-46D1-9010-4F001A53DB1D}"/>
              </a:ext>
            </a:extLst>
          </p:cNvPr>
          <p:cNvSpPr/>
          <p:nvPr/>
        </p:nvSpPr>
        <p:spPr>
          <a:xfrm>
            <a:off x="9776317" y="4390507"/>
            <a:ext cx="1795131" cy="4770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Classification</a:t>
            </a:r>
          </a:p>
        </p:txBody>
      </p:sp>
      <p:sp>
        <p:nvSpPr>
          <p:cNvPr id="18" name="Rechteck 17">
            <a:extLst>
              <a:ext uri="{FF2B5EF4-FFF2-40B4-BE49-F238E27FC236}">
                <a16:creationId xmlns:a16="http://schemas.microsoft.com/office/drawing/2014/main" id="{0BBE2092-D239-A008-5E6A-A0B0A3B822CA}"/>
              </a:ext>
            </a:extLst>
          </p:cNvPr>
          <p:cNvSpPr/>
          <p:nvPr/>
        </p:nvSpPr>
        <p:spPr>
          <a:xfrm>
            <a:off x="2549016" y="2992500"/>
            <a:ext cx="1491277" cy="602597"/>
          </a:xfrm>
          <a:prstGeom prst="rect">
            <a:avLst/>
          </a:prstGeom>
          <a:solidFill>
            <a:schemeClr val="accent5">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Pattern Extractor</a:t>
            </a:r>
          </a:p>
        </p:txBody>
      </p:sp>
      <p:sp>
        <p:nvSpPr>
          <p:cNvPr id="19" name="Rechteck 18">
            <a:extLst>
              <a:ext uri="{FF2B5EF4-FFF2-40B4-BE49-F238E27FC236}">
                <a16:creationId xmlns:a16="http://schemas.microsoft.com/office/drawing/2014/main" id="{CC7D610D-BA24-6E4C-BCA8-F2DE8CFF8876}"/>
              </a:ext>
            </a:extLst>
          </p:cNvPr>
          <p:cNvSpPr/>
          <p:nvPr/>
        </p:nvSpPr>
        <p:spPr>
          <a:xfrm>
            <a:off x="6984454" y="2992501"/>
            <a:ext cx="1467334" cy="863119"/>
          </a:xfrm>
          <a:prstGeom prst="rect">
            <a:avLst/>
          </a:prstGeom>
          <a:solidFill>
            <a:schemeClr val="accent5">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err="1"/>
              <a:t>Modification</a:t>
            </a:r>
            <a:r>
              <a:rPr lang="de-DE"/>
              <a:t> </a:t>
            </a:r>
            <a:r>
              <a:rPr lang="de-DE" err="1"/>
              <a:t>of</a:t>
            </a:r>
            <a:r>
              <a:rPr lang="de-DE"/>
              <a:t> Time Series</a:t>
            </a:r>
          </a:p>
        </p:txBody>
      </p:sp>
      <p:sp>
        <p:nvSpPr>
          <p:cNvPr id="20" name="Textfeld 19">
            <a:extLst>
              <a:ext uri="{FF2B5EF4-FFF2-40B4-BE49-F238E27FC236}">
                <a16:creationId xmlns:a16="http://schemas.microsoft.com/office/drawing/2014/main" id="{2625D0B3-1DDE-99FD-F7B2-528833A6959F}"/>
              </a:ext>
            </a:extLst>
          </p:cNvPr>
          <p:cNvSpPr txBox="1"/>
          <p:nvPr/>
        </p:nvSpPr>
        <p:spPr>
          <a:xfrm>
            <a:off x="563152" y="1528541"/>
            <a:ext cx="4348987" cy="603911"/>
          </a:xfrm>
          <a:prstGeom prst="rect">
            <a:avLst/>
          </a:prstGeom>
          <a:noFill/>
        </p:spPr>
        <p:txBody>
          <a:bodyPr wrap="square" lIns="0" tIns="0" rIns="0" bIns="0" rtlCol="0">
            <a:noAutofit/>
          </a:bodyPr>
          <a:lstStyle/>
          <a:p>
            <a:pPr>
              <a:lnSpc>
                <a:spcPct val="110000"/>
              </a:lnSpc>
              <a:spcAft>
                <a:spcPts val="1000"/>
              </a:spcAft>
            </a:pPr>
            <a:r>
              <a:rPr lang="de-DE" sz="1400" b="1">
                <a:solidFill>
                  <a:schemeClr val="tx2">
                    <a:lumMod val="75000"/>
                  </a:schemeClr>
                </a:solidFill>
              </a:rPr>
              <a:t>Klassifikation der Zeitreihen mittels CNN</a:t>
            </a:r>
          </a:p>
        </p:txBody>
      </p:sp>
      <p:sp>
        <p:nvSpPr>
          <p:cNvPr id="21" name="Textfeld 20">
            <a:extLst>
              <a:ext uri="{FF2B5EF4-FFF2-40B4-BE49-F238E27FC236}">
                <a16:creationId xmlns:a16="http://schemas.microsoft.com/office/drawing/2014/main" id="{2CE26D3B-5BEE-4F4F-4264-A8402B82185E}"/>
              </a:ext>
            </a:extLst>
          </p:cNvPr>
          <p:cNvSpPr txBox="1"/>
          <p:nvPr/>
        </p:nvSpPr>
        <p:spPr>
          <a:xfrm>
            <a:off x="582305" y="2621117"/>
            <a:ext cx="8224488" cy="603911"/>
          </a:xfrm>
          <a:prstGeom prst="rect">
            <a:avLst/>
          </a:prstGeom>
          <a:noFill/>
        </p:spPr>
        <p:txBody>
          <a:bodyPr wrap="square" lIns="0" tIns="0" rIns="0" bIns="0" rtlCol="0">
            <a:noAutofit/>
          </a:bodyPr>
          <a:lstStyle/>
          <a:p>
            <a:pPr>
              <a:lnSpc>
                <a:spcPct val="110000"/>
              </a:lnSpc>
              <a:spcAft>
                <a:spcPts val="1000"/>
              </a:spcAft>
            </a:pPr>
            <a:r>
              <a:rPr lang="de-DE" sz="1400" b="1">
                <a:solidFill>
                  <a:schemeClr val="tx2">
                    <a:lumMod val="75000"/>
                  </a:schemeClr>
                </a:solidFill>
              </a:rPr>
              <a:t>Quantifizierung der Relevanz der </a:t>
            </a:r>
            <a:r>
              <a:rPr lang="de-DE" sz="1400" b="1" err="1">
                <a:solidFill>
                  <a:schemeClr val="tx2">
                    <a:lumMod val="75000"/>
                  </a:schemeClr>
                </a:solidFill>
              </a:rPr>
              <a:t>Shapelets</a:t>
            </a:r>
            <a:r>
              <a:rPr lang="de-DE" sz="1400" b="1">
                <a:solidFill>
                  <a:schemeClr val="tx2">
                    <a:lumMod val="75000"/>
                  </a:schemeClr>
                </a:solidFill>
              </a:rPr>
              <a:t> durch Modifikation der Zeitreihen </a:t>
            </a:r>
          </a:p>
        </p:txBody>
      </p:sp>
      <p:sp>
        <p:nvSpPr>
          <p:cNvPr id="22" name="Textfeld 21">
            <a:extLst>
              <a:ext uri="{FF2B5EF4-FFF2-40B4-BE49-F238E27FC236}">
                <a16:creationId xmlns:a16="http://schemas.microsoft.com/office/drawing/2014/main" id="{CAD80A47-4966-56C0-B2BB-9270287828DC}"/>
              </a:ext>
            </a:extLst>
          </p:cNvPr>
          <p:cNvSpPr txBox="1"/>
          <p:nvPr/>
        </p:nvSpPr>
        <p:spPr>
          <a:xfrm>
            <a:off x="582305" y="4061869"/>
            <a:ext cx="6150925" cy="235433"/>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Validierung der </a:t>
            </a:r>
            <a:r>
              <a:rPr lang="de-DE" sz="1400" b="1" err="1">
                <a:solidFill>
                  <a:schemeClr val="tx2">
                    <a:lumMod val="75000"/>
                  </a:schemeClr>
                </a:solidFill>
              </a:rPr>
              <a:t>Shapelts</a:t>
            </a:r>
            <a:r>
              <a:rPr lang="de-DE" sz="1400" b="1">
                <a:solidFill>
                  <a:schemeClr val="tx2">
                    <a:lumMod val="75000"/>
                  </a:schemeClr>
                </a:solidFill>
              </a:rPr>
              <a:t> durch Zeitreihenmodifikation mittels Grad-Cam </a:t>
            </a:r>
          </a:p>
        </p:txBody>
      </p:sp>
      <p:sp>
        <p:nvSpPr>
          <p:cNvPr id="23" name="Rechteck 22">
            <a:extLst>
              <a:ext uri="{FF2B5EF4-FFF2-40B4-BE49-F238E27FC236}">
                <a16:creationId xmlns:a16="http://schemas.microsoft.com/office/drawing/2014/main" id="{120A68E0-CECC-8934-1E0C-3A942CA75CB3}"/>
              </a:ext>
            </a:extLst>
          </p:cNvPr>
          <p:cNvSpPr/>
          <p:nvPr/>
        </p:nvSpPr>
        <p:spPr>
          <a:xfrm>
            <a:off x="2549016" y="4390509"/>
            <a:ext cx="861480" cy="47709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CNN</a:t>
            </a:r>
          </a:p>
        </p:txBody>
      </p:sp>
      <p:sp>
        <p:nvSpPr>
          <p:cNvPr id="24" name="Rechteck 23">
            <a:extLst>
              <a:ext uri="{FF2B5EF4-FFF2-40B4-BE49-F238E27FC236}">
                <a16:creationId xmlns:a16="http://schemas.microsoft.com/office/drawing/2014/main" id="{A47E7AC2-94B9-16BF-B79F-ABB106561890}"/>
              </a:ext>
            </a:extLst>
          </p:cNvPr>
          <p:cNvSpPr/>
          <p:nvPr/>
        </p:nvSpPr>
        <p:spPr>
          <a:xfrm>
            <a:off x="6984454" y="4390509"/>
            <a:ext cx="1467333" cy="86311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err="1"/>
              <a:t>Modification</a:t>
            </a:r>
            <a:r>
              <a:rPr lang="de-DE"/>
              <a:t> </a:t>
            </a:r>
            <a:r>
              <a:rPr lang="de-DE" err="1"/>
              <a:t>of</a:t>
            </a:r>
            <a:r>
              <a:rPr lang="de-DE"/>
              <a:t> Time Series</a:t>
            </a:r>
          </a:p>
        </p:txBody>
      </p:sp>
      <p:sp>
        <p:nvSpPr>
          <p:cNvPr id="26" name="Rechteck 25">
            <a:extLst>
              <a:ext uri="{FF2B5EF4-FFF2-40B4-BE49-F238E27FC236}">
                <a16:creationId xmlns:a16="http://schemas.microsoft.com/office/drawing/2014/main" id="{AE3E8C21-7F09-3331-ECEA-E3A932363ACB}"/>
              </a:ext>
            </a:extLst>
          </p:cNvPr>
          <p:cNvSpPr/>
          <p:nvPr/>
        </p:nvSpPr>
        <p:spPr>
          <a:xfrm>
            <a:off x="3599290" y="4366273"/>
            <a:ext cx="1382499" cy="533461"/>
          </a:xfrm>
          <a:prstGeom prst="rect">
            <a:avLst/>
          </a:prstGeom>
          <a:solidFill>
            <a:schemeClr val="accent2">
              <a:lumMod val="60000"/>
              <a:lumOff val="40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t>Grad-Cam</a:t>
            </a:r>
          </a:p>
        </p:txBody>
      </p:sp>
      <p:sp>
        <p:nvSpPr>
          <p:cNvPr id="27" name="Rechteck 26">
            <a:extLst>
              <a:ext uri="{FF2B5EF4-FFF2-40B4-BE49-F238E27FC236}">
                <a16:creationId xmlns:a16="http://schemas.microsoft.com/office/drawing/2014/main" id="{3FBFEC01-AA18-6233-849A-D22FDCD82626}"/>
              </a:ext>
            </a:extLst>
          </p:cNvPr>
          <p:cNvSpPr/>
          <p:nvPr/>
        </p:nvSpPr>
        <p:spPr>
          <a:xfrm>
            <a:off x="5085928" y="4390509"/>
            <a:ext cx="1647302" cy="86443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err="1"/>
              <a:t>Identification</a:t>
            </a:r>
            <a:r>
              <a:rPr lang="de-DE"/>
              <a:t> </a:t>
            </a:r>
            <a:r>
              <a:rPr lang="de-DE" err="1"/>
              <a:t>of</a:t>
            </a:r>
            <a:r>
              <a:rPr lang="de-DE"/>
              <a:t> </a:t>
            </a:r>
            <a:r>
              <a:rPr lang="de-DE" err="1"/>
              <a:t>significant</a:t>
            </a:r>
            <a:r>
              <a:rPr lang="de-DE"/>
              <a:t> </a:t>
            </a:r>
            <a:r>
              <a:rPr lang="de-DE" err="1"/>
              <a:t>Inetrvals</a:t>
            </a:r>
            <a:endParaRPr lang="de-DE"/>
          </a:p>
        </p:txBody>
      </p:sp>
      <p:sp>
        <p:nvSpPr>
          <p:cNvPr id="28" name="Rechteck 27">
            <a:extLst>
              <a:ext uri="{FF2B5EF4-FFF2-40B4-BE49-F238E27FC236}">
                <a16:creationId xmlns:a16="http://schemas.microsoft.com/office/drawing/2014/main" id="{08D69804-5FEF-666F-C25D-D5A0C73E3AEB}"/>
              </a:ext>
            </a:extLst>
          </p:cNvPr>
          <p:cNvSpPr/>
          <p:nvPr/>
        </p:nvSpPr>
        <p:spPr>
          <a:xfrm>
            <a:off x="4398900" y="2991186"/>
            <a:ext cx="2334331" cy="603911"/>
          </a:xfrm>
          <a:prstGeom prst="rect">
            <a:avLst/>
          </a:prstGeom>
          <a:solidFill>
            <a:schemeClr val="accent5">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err="1"/>
              <a:t>Identification</a:t>
            </a:r>
            <a:r>
              <a:rPr lang="de-DE"/>
              <a:t> </a:t>
            </a:r>
            <a:r>
              <a:rPr lang="de-DE" err="1"/>
              <a:t>of</a:t>
            </a:r>
            <a:r>
              <a:rPr lang="de-DE"/>
              <a:t> </a:t>
            </a:r>
            <a:r>
              <a:rPr lang="de-DE" err="1"/>
              <a:t>significant</a:t>
            </a:r>
            <a:r>
              <a:rPr lang="de-DE"/>
              <a:t> </a:t>
            </a:r>
            <a:r>
              <a:rPr lang="de-DE" err="1"/>
              <a:t>Inetrvals</a:t>
            </a:r>
            <a:endParaRPr lang="de-DE"/>
          </a:p>
        </p:txBody>
      </p:sp>
      <p:sp>
        <p:nvSpPr>
          <p:cNvPr id="29" name="Textfeld 28">
            <a:extLst>
              <a:ext uri="{FF2B5EF4-FFF2-40B4-BE49-F238E27FC236}">
                <a16:creationId xmlns:a16="http://schemas.microsoft.com/office/drawing/2014/main" id="{E19CD353-1A3F-AA40-03D2-BA9EAED1C053}"/>
              </a:ext>
            </a:extLst>
          </p:cNvPr>
          <p:cNvSpPr txBox="1"/>
          <p:nvPr/>
        </p:nvSpPr>
        <p:spPr>
          <a:xfrm>
            <a:off x="2523600" y="5394212"/>
            <a:ext cx="4209631" cy="603911"/>
          </a:xfrm>
          <a:prstGeom prst="rect">
            <a:avLst/>
          </a:prstGeom>
          <a:solidFill>
            <a:schemeClr val="bg1"/>
          </a:solidFill>
        </p:spPr>
        <p:txBody>
          <a:bodyPr wrap="square" lIns="0" tIns="0" rIns="0" bIns="0" rtlCol="0">
            <a:noAutofit/>
          </a:bodyPr>
          <a:lstStyle/>
          <a:p>
            <a:pPr algn="r">
              <a:lnSpc>
                <a:spcPct val="110000"/>
              </a:lnSpc>
              <a:spcAft>
                <a:spcPts val="1000"/>
              </a:spcAft>
            </a:pPr>
            <a:r>
              <a:rPr lang="de-DE" sz="1400">
                <a:solidFill>
                  <a:srgbClr val="C00000"/>
                </a:solidFill>
              </a:rPr>
              <a:t>Vergleich von Identifizierten Intervallen lässt Rückschluss auf Validität von Pattern </a:t>
            </a:r>
            <a:r>
              <a:rPr lang="de-DE" sz="1400" err="1">
                <a:solidFill>
                  <a:srgbClr val="C00000"/>
                </a:solidFill>
              </a:rPr>
              <a:t>Extraction</a:t>
            </a:r>
            <a:r>
              <a:rPr lang="de-DE" sz="1400">
                <a:solidFill>
                  <a:srgbClr val="C00000"/>
                </a:solidFill>
              </a:rPr>
              <a:t> zu.</a:t>
            </a:r>
          </a:p>
        </p:txBody>
      </p:sp>
      <p:sp>
        <p:nvSpPr>
          <p:cNvPr id="30" name="Textfeld 29">
            <a:extLst>
              <a:ext uri="{FF2B5EF4-FFF2-40B4-BE49-F238E27FC236}">
                <a16:creationId xmlns:a16="http://schemas.microsoft.com/office/drawing/2014/main" id="{71ACFD6E-5918-2AEC-CB8F-CF7410B53735}"/>
              </a:ext>
            </a:extLst>
          </p:cNvPr>
          <p:cNvSpPr txBox="1"/>
          <p:nvPr/>
        </p:nvSpPr>
        <p:spPr>
          <a:xfrm>
            <a:off x="9185576" y="5394211"/>
            <a:ext cx="2440531" cy="603911"/>
          </a:xfrm>
          <a:prstGeom prst="rect">
            <a:avLst/>
          </a:prstGeom>
          <a:solidFill>
            <a:schemeClr val="bg1"/>
          </a:solidFill>
        </p:spPr>
        <p:txBody>
          <a:bodyPr wrap="square" lIns="0" tIns="0" rIns="0" bIns="0" rtlCol="0">
            <a:noAutofit/>
          </a:bodyPr>
          <a:lstStyle/>
          <a:p>
            <a:pPr algn="r">
              <a:lnSpc>
                <a:spcPct val="110000"/>
              </a:lnSpc>
              <a:spcAft>
                <a:spcPts val="1000"/>
              </a:spcAft>
            </a:pPr>
            <a:r>
              <a:rPr lang="de-DE" sz="1400">
                <a:solidFill>
                  <a:srgbClr val="C00000"/>
                </a:solidFill>
              </a:rPr>
              <a:t>Quantifizierung und Vergleichbarkeit der Ansätze</a:t>
            </a:r>
          </a:p>
        </p:txBody>
      </p:sp>
      <p:sp>
        <p:nvSpPr>
          <p:cNvPr id="34" name="Rechteck 33">
            <a:extLst>
              <a:ext uri="{FF2B5EF4-FFF2-40B4-BE49-F238E27FC236}">
                <a16:creationId xmlns:a16="http://schemas.microsoft.com/office/drawing/2014/main" id="{033F7831-7069-8FC8-D8B2-B0C53857C56B}"/>
              </a:ext>
            </a:extLst>
          </p:cNvPr>
          <p:cNvSpPr/>
          <p:nvPr/>
        </p:nvSpPr>
        <p:spPr>
          <a:xfrm flipV="1">
            <a:off x="9716912" y="1890608"/>
            <a:ext cx="1909195" cy="341039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de-DE"/>
          </a:p>
        </p:txBody>
      </p:sp>
    </p:spTree>
    <p:extLst>
      <p:ext uri="{BB962C8B-B14F-4D97-AF65-F5344CB8AC3E}">
        <p14:creationId xmlns:p14="http://schemas.microsoft.com/office/powerpoint/2010/main" val="16147220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6B4F0-596A-6C16-8D08-AEF16425F75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D43635A-1E8B-071A-1DC8-D4024C5D81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6D43635A-1E8B-071A-1DC8-D4024C5D81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CD2CF185-D571-9509-A214-15AEB7EF396C}"/>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EB964B43-0894-6312-A065-2BA28345B61A}"/>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A5195927-7BF8-1E1E-B111-8012DB4CAEB5}"/>
              </a:ext>
            </a:extLst>
          </p:cNvPr>
          <p:cNvSpPr>
            <a:spLocks noGrp="1"/>
          </p:cNvSpPr>
          <p:nvPr>
            <p:ph type="sldNum" sz="quarter" idx="12"/>
          </p:nvPr>
        </p:nvSpPr>
        <p:spPr/>
        <p:txBody>
          <a:bodyPr/>
          <a:lstStyle/>
          <a:p>
            <a:fld id="{02CEFE82-39F2-4F47-8A0C-D5AB3496FA5C}" type="slidenum">
              <a:rPr lang="de-DE" noProof="0" smtClean="0"/>
              <a:pPr/>
              <a:t>22</a:t>
            </a:fld>
            <a:endParaRPr lang="de-DE" noProof="0"/>
          </a:p>
        </p:txBody>
      </p:sp>
      <p:sp>
        <p:nvSpPr>
          <p:cNvPr id="5" name="Titel 4">
            <a:extLst>
              <a:ext uri="{FF2B5EF4-FFF2-40B4-BE49-F238E27FC236}">
                <a16:creationId xmlns:a16="http://schemas.microsoft.com/office/drawing/2014/main" id="{7BED41CF-A900-C77E-2351-EAA7D7C8C1CF}"/>
              </a:ext>
            </a:extLst>
          </p:cNvPr>
          <p:cNvSpPr>
            <a:spLocks noGrp="1"/>
          </p:cNvSpPr>
          <p:nvPr>
            <p:ph type="title"/>
          </p:nvPr>
        </p:nvSpPr>
        <p:spPr/>
        <p:txBody>
          <a:bodyPr vert="horz"/>
          <a:lstStyle/>
          <a:p>
            <a:r>
              <a:rPr lang="de-DE"/>
              <a:t>Zwischenpräsentation</a:t>
            </a:r>
          </a:p>
        </p:txBody>
      </p:sp>
      <p:sp>
        <p:nvSpPr>
          <p:cNvPr id="6" name="Textplatzhalter 5">
            <a:extLst>
              <a:ext uri="{FF2B5EF4-FFF2-40B4-BE49-F238E27FC236}">
                <a16:creationId xmlns:a16="http://schemas.microsoft.com/office/drawing/2014/main" id="{4B7168FD-D152-606F-2241-491C51C3527D}"/>
              </a:ext>
            </a:extLst>
          </p:cNvPr>
          <p:cNvSpPr>
            <a:spLocks noGrp="1"/>
          </p:cNvSpPr>
          <p:nvPr>
            <p:ph type="body" sz="quarter" idx="28"/>
          </p:nvPr>
        </p:nvSpPr>
        <p:spPr/>
        <p:txBody>
          <a:bodyPr/>
          <a:lstStyle/>
          <a:p>
            <a:r>
              <a:rPr lang="de-DE"/>
              <a:t>Strukturierung</a:t>
            </a:r>
          </a:p>
        </p:txBody>
      </p:sp>
      <p:sp>
        <p:nvSpPr>
          <p:cNvPr id="8" name="Textfeld 7">
            <a:extLst>
              <a:ext uri="{FF2B5EF4-FFF2-40B4-BE49-F238E27FC236}">
                <a16:creationId xmlns:a16="http://schemas.microsoft.com/office/drawing/2014/main" id="{BE6ED1D3-04EC-B185-3AD8-759BEBAC62A1}"/>
              </a:ext>
            </a:extLst>
          </p:cNvPr>
          <p:cNvSpPr txBox="1"/>
          <p:nvPr/>
        </p:nvSpPr>
        <p:spPr>
          <a:xfrm>
            <a:off x="539751" y="1449805"/>
            <a:ext cx="9669849" cy="4348317"/>
          </a:xfrm>
          <a:prstGeom prst="rect">
            <a:avLst/>
          </a:prstGeom>
          <a:solidFill>
            <a:schemeClr val="bg1"/>
          </a:solidFill>
        </p:spPr>
        <p:txBody>
          <a:bodyPr wrap="square" lIns="0" tIns="0" rIns="0" bIns="0" rtlCol="0">
            <a:noAutofit/>
          </a:bodyPr>
          <a:lstStyle/>
          <a:p>
            <a:pPr algn="l">
              <a:lnSpc>
                <a:spcPct val="110000"/>
              </a:lnSpc>
              <a:spcAft>
                <a:spcPts val="1000"/>
              </a:spcAft>
            </a:pPr>
            <a:r>
              <a:rPr lang="de-DE" sz="1400"/>
              <a:t>Der </a:t>
            </a:r>
            <a:r>
              <a:rPr lang="de-DE" sz="1400" b="1"/>
              <a:t>Learning </a:t>
            </a:r>
            <a:r>
              <a:rPr lang="de-DE" sz="1400" b="1" err="1"/>
              <a:t>Shapelets</a:t>
            </a:r>
            <a:r>
              <a:rPr lang="de-DE" sz="1400" b="1"/>
              <a:t> Algorithmus</a:t>
            </a:r>
            <a:r>
              <a:rPr lang="de-DE" sz="1400"/>
              <a:t> liefert eine </a:t>
            </a:r>
            <a:r>
              <a:rPr lang="de-DE" sz="1400" b="1"/>
              <a:t>natürliche Form der post-hoc Erklärbarkeit</a:t>
            </a:r>
            <a:r>
              <a:rPr lang="de-DE" sz="1400"/>
              <a:t>, indem er explizite Muster (</a:t>
            </a:r>
            <a:r>
              <a:rPr lang="de-DE" sz="1400" err="1"/>
              <a:t>Shapelets</a:t>
            </a:r>
            <a:r>
              <a:rPr lang="de-DE" sz="1400"/>
              <a:t>) identifiziert, die zur Klassifikation oder Vorhersage verwendet werden. Diese Muster sind direkt interpretierbar und erlauben es, kritische Abschnitte in den Zeitreihen zu lokalisieren, die die Entscheidung beeinflusst haben. In sicherheitskritischen Szenarien, wo die Nachvollziehbarkeit essenziell ist, stellt dies einen klaren Vorteil gegenüber komplexeren Deep-Learning-Ansätzen wie CNNs dar</a:t>
            </a:r>
          </a:p>
          <a:p>
            <a:pPr algn="l">
              <a:lnSpc>
                <a:spcPct val="110000"/>
              </a:lnSpc>
              <a:spcAft>
                <a:spcPts val="1000"/>
              </a:spcAft>
            </a:pPr>
            <a:r>
              <a:rPr lang="de-DE" sz="1400" b="1">
                <a:solidFill>
                  <a:schemeClr val="tx2">
                    <a:lumMod val="75000"/>
                  </a:schemeClr>
                </a:solidFill>
              </a:rPr>
              <a:t>Validierungsansatz</a:t>
            </a:r>
          </a:p>
          <a:p>
            <a:pPr algn="l">
              <a:lnSpc>
                <a:spcPct val="110000"/>
              </a:lnSpc>
              <a:spcAft>
                <a:spcPts val="1000"/>
              </a:spcAft>
            </a:pPr>
            <a:r>
              <a:rPr lang="de-DE" sz="1400"/>
              <a:t>Die durch Learning </a:t>
            </a:r>
            <a:r>
              <a:rPr lang="de-DE" sz="1400" err="1"/>
              <a:t>Shapelets</a:t>
            </a:r>
            <a:r>
              <a:rPr lang="de-DE" sz="1400"/>
              <a:t> extrahierten Muster können genutzt werden, um die relevanten </a:t>
            </a:r>
            <a:r>
              <a:rPr lang="de-DE" sz="1400" b="1"/>
              <a:t>Features</a:t>
            </a:r>
            <a:r>
              <a:rPr lang="de-DE" sz="1400"/>
              <a:t> in CNNs zu validieren. Dies ist auch umgekehrt möglich</a:t>
            </a:r>
            <a:endParaRPr lang="de-DE" sz="1400">
              <a:solidFill>
                <a:schemeClr val="tx2">
                  <a:lumMod val="75000"/>
                </a:schemeClr>
              </a:solidFill>
            </a:endParaRPr>
          </a:p>
          <a:p>
            <a:pPr algn="l">
              <a:lnSpc>
                <a:spcPct val="110000"/>
              </a:lnSpc>
              <a:spcAft>
                <a:spcPts val="1000"/>
              </a:spcAft>
            </a:pPr>
            <a:r>
              <a:rPr lang="de-DE" sz="1400" b="1">
                <a:solidFill>
                  <a:schemeClr val="tx2">
                    <a:lumMod val="75000"/>
                  </a:schemeClr>
                </a:solidFill>
              </a:rPr>
              <a:t>Validierung mittels Vergleich von CNN Features und </a:t>
            </a:r>
            <a:r>
              <a:rPr lang="de-DE" sz="1400" b="1" err="1">
                <a:solidFill>
                  <a:schemeClr val="tx2">
                    <a:lumMod val="75000"/>
                  </a:schemeClr>
                </a:solidFill>
              </a:rPr>
              <a:t>Shapelets</a:t>
            </a:r>
            <a:r>
              <a:rPr lang="de-DE" sz="1400" b="1">
                <a:solidFill>
                  <a:schemeClr val="tx2">
                    <a:lumMod val="75000"/>
                  </a:schemeClr>
                </a:solidFill>
              </a:rPr>
              <a:t> und Vertrauenssteigerung</a:t>
            </a:r>
          </a:p>
          <a:p>
            <a:pPr algn="l">
              <a:lnSpc>
                <a:spcPct val="110000"/>
              </a:lnSpc>
              <a:spcAft>
                <a:spcPts val="1000"/>
              </a:spcAft>
            </a:pPr>
            <a:r>
              <a:rPr lang="de-DE" sz="1400"/>
              <a:t>Die durch Grad-CAM hervorgehobenen relevanten Bereiche können mit den Positionen und Formen der durch Learning </a:t>
            </a:r>
            <a:r>
              <a:rPr lang="de-DE" sz="1400" err="1"/>
              <a:t>Shapelets</a:t>
            </a:r>
            <a:r>
              <a:rPr lang="de-DE" sz="1400"/>
              <a:t> extrahierten Muster verglichen werden.</a:t>
            </a:r>
            <a:endParaRPr lang="de-DE" sz="1400">
              <a:solidFill>
                <a:schemeClr val="tx2">
                  <a:lumMod val="75000"/>
                </a:schemeClr>
              </a:solidFill>
            </a:endParaRPr>
          </a:p>
          <a:p>
            <a:pPr algn="l">
              <a:lnSpc>
                <a:spcPct val="110000"/>
              </a:lnSpc>
              <a:spcAft>
                <a:spcPts val="1000"/>
              </a:spcAft>
            </a:pPr>
            <a:r>
              <a:rPr lang="de-DE" sz="1400"/>
              <a:t>Wenn ein CNN dieselben Abschnitte einer Zeitreihe als wichtig identifiziert, die auch von einem </a:t>
            </a:r>
            <a:r>
              <a:rPr lang="de-DE" sz="1400" err="1"/>
              <a:t>Shapelet</a:t>
            </a:r>
            <a:r>
              <a:rPr lang="de-DE" sz="1400"/>
              <a:t> als relevant markiert wurden, stärkt dies das Vertrauen in beide Ansätze.</a:t>
            </a:r>
            <a:endParaRPr lang="de-DE" sz="1400">
              <a:solidFill>
                <a:schemeClr val="tx2">
                  <a:lumMod val="75000"/>
                </a:schemeClr>
              </a:solidFill>
            </a:endParaRPr>
          </a:p>
          <a:p>
            <a:pPr algn="l">
              <a:lnSpc>
                <a:spcPct val="110000"/>
              </a:lnSpc>
              <a:spcAft>
                <a:spcPts val="1000"/>
              </a:spcAft>
            </a:pPr>
            <a:r>
              <a:rPr lang="de-DE" sz="1400" b="1">
                <a:solidFill>
                  <a:schemeClr val="tx2">
                    <a:lumMod val="75000"/>
                  </a:schemeClr>
                </a:solidFill>
              </a:rPr>
              <a:t>Verständlichkeit von </a:t>
            </a:r>
            <a:r>
              <a:rPr lang="de-DE" sz="1400" b="1" err="1">
                <a:solidFill>
                  <a:schemeClr val="tx2">
                    <a:lumMod val="75000"/>
                  </a:schemeClr>
                </a:solidFill>
              </a:rPr>
              <a:t>features</a:t>
            </a:r>
            <a:endParaRPr lang="de-DE" sz="1400" b="1">
              <a:solidFill>
                <a:schemeClr val="tx2">
                  <a:lumMod val="75000"/>
                </a:schemeClr>
              </a:solidFill>
            </a:endParaRPr>
          </a:p>
          <a:p>
            <a:pPr algn="l">
              <a:lnSpc>
                <a:spcPct val="110000"/>
              </a:lnSpc>
              <a:spcAft>
                <a:spcPts val="1000"/>
              </a:spcAft>
            </a:pPr>
            <a:r>
              <a:rPr lang="de-DE" sz="1400"/>
              <a:t>In CNNs sind </a:t>
            </a:r>
            <a:r>
              <a:rPr lang="de-DE" sz="1400" b="1"/>
              <a:t>Features</a:t>
            </a:r>
            <a:r>
              <a:rPr lang="de-DE" sz="1400"/>
              <a:t> die abstrakten Muster oder Eigenschaften, die aus den Daten extrahiert werden, während das Modell trainiert wird. Grad-CAM hilft, diese Features für den Menschen verständlich zu machen, indem es zeigt, </a:t>
            </a:r>
            <a:r>
              <a:rPr lang="de-DE" sz="1400" b="1"/>
              <a:t>wo</a:t>
            </a:r>
            <a:r>
              <a:rPr lang="de-DE" sz="1400"/>
              <a:t> in den Eingabedaten das Modell wichtige Informationen gefunden hat. Das verbessert die Transparenz und Nachvollziehbarkeit des Modells erheblich.</a:t>
            </a:r>
            <a:endParaRPr lang="de-DE" sz="1400">
              <a:solidFill>
                <a:schemeClr val="tx2">
                  <a:lumMod val="75000"/>
                </a:schemeClr>
              </a:solidFill>
            </a:endParaRPr>
          </a:p>
        </p:txBody>
      </p:sp>
    </p:spTree>
    <p:extLst>
      <p:ext uri="{BB962C8B-B14F-4D97-AF65-F5344CB8AC3E}">
        <p14:creationId xmlns:p14="http://schemas.microsoft.com/office/powerpoint/2010/main" val="2413747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CB87C3-9DED-30B4-4B80-5F31A1BF015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331A3C-674B-8FA5-C247-8D952387EA60}"/>
              </a:ext>
            </a:extLst>
          </p:cNvPr>
          <p:cNvGraphicFramePr>
            <a:graphicFrameLocks noChangeAspect="1"/>
          </p:cNvGraphicFramePr>
          <p:nvPr>
            <p:custDataLst>
              <p:tags r:id="rId1"/>
            </p:custDataLst>
            <p:extLst>
              <p:ext uri="{D42A27DB-BD31-4B8C-83A1-F6EECF244321}">
                <p14:modId xmlns:p14="http://schemas.microsoft.com/office/powerpoint/2010/main" val="201479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CC331A3C-674B-8FA5-C247-8D952387E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345B5EBD-718D-9EF3-A1F7-0E26CD092B0A}"/>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AC5D0352-4037-F6C0-5A93-E0966BCBD50D}"/>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DCF5A3E9-7D30-7142-5246-05FE9B7D0B3D}"/>
              </a:ext>
            </a:extLst>
          </p:cNvPr>
          <p:cNvSpPr>
            <a:spLocks noGrp="1"/>
          </p:cNvSpPr>
          <p:nvPr>
            <p:ph type="sldNum" sz="quarter" idx="12"/>
          </p:nvPr>
        </p:nvSpPr>
        <p:spPr/>
        <p:txBody>
          <a:bodyPr/>
          <a:lstStyle/>
          <a:p>
            <a:fld id="{02CEFE82-39F2-4F47-8A0C-D5AB3496FA5C}" type="slidenum">
              <a:rPr lang="de-DE" noProof="0" smtClean="0"/>
              <a:pPr/>
              <a:t>23</a:t>
            </a:fld>
            <a:endParaRPr lang="de-DE" noProof="0"/>
          </a:p>
        </p:txBody>
      </p:sp>
      <p:sp>
        <p:nvSpPr>
          <p:cNvPr id="5" name="Titel 4">
            <a:extLst>
              <a:ext uri="{FF2B5EF4-FFF2-40B4-BE49-F238E27FC236}">
                <a16:creationId xmlns:a16="http://schemas.microsoft.com/office/drawing/2014/main" id="{B9CAD0CE-1037-A9EF-F5A6-1DB661BEBFDD}"/>
              </a:ext>
            </a:extLst>
          </p:cNvPr>
          <p:cNvSpPr>
            <a:spLocks noGrp="1"/>
          </p:cNvSpPr>
          <p:nvPr>
            <p:ph type="title"/>
          </p:nvPr>
        </p:nvSpPr>
        <p:spPr/>
        <p:txBody>
          <a:bodyPr vert="horz"/>
          <a:lstStyle/>
          <a:p>
            <a:r>
              <a:rPr lang="de-DE"/>
              <a:t>Zwischenpräsentation</a:t>
            </a:r>
          </a:p>
        </p:txBody>
      </p:sp>
      <p:sp>
        <p:nvSpPr>
          <p:cNvPr id="6" name="Textplatzhalter 5">
            <a:extLst>
              <a:ext uri="{FF2B5EF4-FFF2-40B4-BE49-F238E27FC236}">
                <a16:creationId xmlns:a16="http://schemas.microsoft.com/office/drawing/2014/main" id="{88C632A3-976F-23F8-38B1-2B1C5C9773D4}"/>
              </a:ext>
            </a:extLst>
          </p:cNvPr>
          <p:cNvSpPr>
            <a:spLocks noGrp="1"/>
          </p:cNvSpPr>
          <p:nvPr>
            <p:ph type="body" sz="quarter" idx="28"/>
          </p:nvPr>
        </p:nvSpPr>
        <p:spPr/>
        <p:txBody>
          <a:bodyPr/>
          <a:lstStyle/>
          <a:p>
            <a:r>
              <a:rPr lang="de-DE"/>
              <a:t>Strukturierung</a:t>
            </a:r>
          </a:p>
        </p:txBody>
      </p:sp>
      <p:sp>
        <p:nvSpPr>
          <p:cNvPr id="8" name="Textfeld 7">
            <a:extLst>
              <a:ext uri="{FF2B5EF4-FFF2-40B4-BE49-F238E27FC236}">
                <a16:creationId xmlns:a16="http://schemas.microsoft.com/office/drawing/2014/main" id="{83ECAD9E-C70D-FFAF-B533-E13D5F13E04C}"/>
              </a:ext>
            </a:extLst>
          </p:cNvPr>
          <p:cNvSpPr txBox="1"/>
          <p:nvPr/>
        </p:nvSpPr>
        <p:spPr>
          <a:xfrm>
            <a:off x="539751" y="1449805"/>
            <a:ext cx="9669849" cy="4348317"/>
          </a:xfrm>
          <a:prstGeom prst="rect">
            <a:avLst/>
          </a:prstGeom>
          <a:solidFill>
            <a:schemeClr val="bg1"/>
          </a:solidFill>
        </p:spPr>
        <p:txBody>
          <a:bodyPr wrap="square" lIns="0" tIns="0" rIns="0" bIns="0" rtlCol="0">
            <a:noAutofit/>
          </a:bodyPr>
          <a:lstStyle/>
          <a:p>
            <a:pPr algn="l">
              <a:lnSpc>
                <a:spcPct val="110000"/>
              </a:lnSpc>
              <a:spcAft>
                <a:spcPts val="1000"/>
              </a:spcAft>
            </a:pPr>
            <a:r>
              <a:rPr lang="de-DE" sz="1400">
                <a:solidFill>
                  <a:schemeClr val="tx2">
                    <a:lumMod val="75000"/>
                  </a:schemeClr>
                </a:solidFill>
              </a:rPr>
              <a:t>Thema: Siehe Kickoff</a:t>
            </a:r>
          </a:p>
          <a:p>
            <a:pPr algn="l">
              <a:lnSpc>
                <a:spcPct val="110000"/>
              </a:lnSpc>
              <a:spcAft>
                <a:spcPts val="1000"/>
              </a:spcAft>
            </a:pPr>
            <a:r>
              <a:rPr lang="de-DE" sz="1400">
                <a:solidFill>
                  <a:schemeClr val="tx2">
                    <a:lumMod val="75000"/>
                  </a:schemeClr>
                </a:solidFill>
              </a:rPr>
              <a:t>Grafik von Jacqueline</a:t>
            </a:r>
          </a:p>
          <a:p>
            <a:pPr marL="285750" indent="-285750" algn="l">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Mit </a:t>
            </a:r>
            <a:r>
              <a:rPr lang="de-DE" sz="1400" err="1">
                <a:solidFill>
                  <a:schemeClr val="tx2">
                    <a:lumMod val="75000"/>
                  </a:schemeClr>
                </a:solidFill>
                <a:sym typeface="Wingdings" panose="05000000000000000000" pitchFamily="2" charset="2"/>
              </a:rPr>
              <a:t>Shapelets</a:t>
            </a:r>
            <a:r>
              <a:rPr lang="de-DE" sz="1400">
                <a:solidFill>
                  <a:schemeClr val="tx2">
                    <a:lumMod val="75000"/>
                  </a:schemeClr>
                </a:solidFill>
                <a:sym typeface="Wingdings" panose="05000000000000000000" pitchFamily="2" charset="2"/>
              </a:rPr>
              <a:t> anfangen</a:t>
            </a:r>
          </a:p>
          <a:p>
            <a:pPr marL="742950" lvl="1"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Input: Abstraktes Beispiel nehmen für Daten Bspw. Maschine, Output: </a:t>
            </a:r>
            <a:r>
              <a:rPr lang="de-DE" sz="1400" err="1">
                <a:solidFill>
                  <a:schemeClr val="tx2">
                    <a:lumMod val="75000"/>
                  </a:schemeClr>
                </a:solidFill>
                <a:sym typeface="Wingdings" panose="05000000000000000000" pitchFamily="2" charset="2"/>
              </a:rPr>
              <a:t>Shapelets</a:t>
            </a:r>
            <a:endParaRPr lang="de-DE" sz="1400">
              <a:solidFill>
                <a:schemeClr val="tx2">
                  <a:lumMod val="75000"/>
                </a:schemeClr>
              </a:solidFill>
              <a:sym typeface="Wingdings" panose="05000000000000000000" pitchFamily="2" charset="2"/>
            </a:endParaRPr>
          </a:p>
          <a:p>
            <a:pPr marL="742950" lvl="1"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Was sind </a:t>
            </a:r>
            <a:r>
              <a:rPr lang="de-DE" sz="1400" err="1">
                <a:solidFill>
                  <a:schemeClr val="tx2">
                    <a:lumMod val="75000"/>
                  </a:schemeClr>
                </a:solidFill>
                <a:sym typeface="Wingdings" panose="05000000000000000000" pitchFamily="2" charset="2"/>
              </a:rPr>
              <a:t>Shapelets</a:t>
            </a:r>
            <a:r>
              <a:rPr lang="de-DE" sz="1400">
                <a:solidFill>
                  <a:schemeClr val="tx2">
                    <a:lumMod val="75000"/>
                  </a:schemeClr>
                </a:solidFill>
                <a:sym typeface="Wingdings" panose="05000000000000000000" pitchFamily="2" charset="2"/>
              </a:rPr>
              <a:t>, wie werden sie generiert und was sollen sie zeigen</a:t>
            </a:r>
          </a:p>
          <a:p>
            <a:pPr marL="1200150" lvl="2"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Definition von </a:t>
            </a:r>
            <a:r>
              <a:rPr lang="de-DE" sz="1400" err="1">
                <a:solidFill>
                  <a:schemeClr val="tx2">
                    <a:lumMod val="75000"/>
                  </a:schemeClr>
                </a:solidFill>
                <a:sym typeface="Wingdings" panose="05000000000000000000" pitchFamily="2" charset="2"/>
              </a:rPr>
              <a:t>Shapelets</a:t>
            </a:r>
            <a:r>
              <a:rPr lang="de-DE" sz="1400">
                <a:solidFill>
                  <a:schemeClr val="tx2">
                    <a:lumMod val="75000"/>
                  </a:schemeClr>
                </a:solidFill>
                <a:sym typeface="Wingdings" panose="05000000000000000000" pitchFamily="2" charset="2"/>
              </a:rPr>
              <a:t> (</a:t>
            </a:r>
            <a:r>
              <a:rPr lang="de-DE" sz="1400" err="1">
                <a:solidFill>
                  <a:schemeClr val="tx2">
                    <a:lumMod val="75000"/>
                  </a:schemeClr>
                </a:solidFill>
                <a:sym typeface="Wingdings" panose="05000000000000000000" pitchFamily="2" charset="2"/>
              </a:rPr>
              <a:t>Ye</a:t>
            </a:r>
            <a:r>
              <a:rPr lang="de-DE" sz="1400">
                <a:solidFill>
                  <a:schemeClr val="tx2">
                    <a:lumMod val="75000"/>
                  </a:schemeClr>
                </a:solidFill>
                <a:sym typeface="Wingdings" panose="05000000000000000000" pitchFamily="2" charset="2"/>
              </a:rPr>
              <a:t> &amp; </a:t>
            </a:r>
            <a:r>
              <a:rPr lang="de-DE" sz="1400" err="1">
                <a:solidFill>
                  <a:schemeClr val="tx2">
                    <a:lumMod val="75000"/>
                  </a:schemeClr>
                </a:solidFill>
                <a:sym typeface="Wingdings" panose="05000000000000000000" pitchFamily="2" charset="2"/>
              </a:rPr>
              <a:t>Keogh</a:t>
            </a:r>
            <a:r>
              <a:rPr lang="de-DE" sz="1400">
                <a:solidFill>
                  <a:schemeClr val="tx2">
                    <a:lumMod val="75000"/>
                  </a:schemeClr>
                </a:solidFill>
                <a:sym typeface="Wingdings" panose="05000000000000000000" pitchFamily="2" charset="2"/>
              </a:rPr>
              <a:t>)</a:t>
            </a:r>
          </a:p>
          <a:p>
            <a:pPr marL="742950" lvl="1"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Verschiedene </a:t>
            </a:r>
            <a:r>
              <a:rPr lang="de-DE" sz="1400" err="1">
                <a:solidFill>
                  <a:schemeClr val="tx2">
                    <a:lumMod val="75000"/>
                  </a:schemeClr>
                </a:solidFill>
                <a:sym typeface="Wingdings" panose="05000000000000000000" pitchFamily="2" charset="2"/>
              </a:rPr>
              <a:t>Shapeletsansätze</a:t>
            </a:r>
            <a:r>
              <a:rPr lang="de-DE" sz="1400">
                <a:solidFill>
                  <a:schemeClr val="tx2">
                    <a:lumMod val="75000"/>
                  </a:schemeClr>
                </a:solidFill>
                <a:sym typeface="Wingdings" panose="05000000000000000000" pitchFamily="2" charset="2"/>
              </a:rPr>
              <a:t> (Learning </a:t>
            </a:r>
            <a:r>
              <a:rPr lang="de-DE" sz="1400" err="1">
                <a:solidFill>
                  <a:schemeClr val="tx2">
                    <a:lumMod val="75000"/>
                  </a:schemeClr>
                </a:solidFill>
                <a:sym typeface="Wingdings" panose="05000000000000000000" pitchFamily="2" charset="2"/>
              </a:rPr>
              <a:t>Shapelets</a:t>
            </a:r>
            <a:r>
              <a:rPr lang="de-DE" sz="1400">
                <a:solidFill>
                  <a:schemeClr val="tx2">
                    <a:lumMod val="75000"/>
                  </a:schemeClr>
                </a:solidFill>
                <a:sym typeface="Wingdings" panose="05000000000000000000" pitchFamily="2" charset="2"/>
              </a:rPr>
              <a:t>, </a:t>
            </a:r>
            <a:r>
              <a:rPr lang="de-DE" sz="1400" err="1">
                <a:solidFill>
                  <a:schemeClr val="tx2">
                    <a:lumMod val="75000"/>
                  </a:schemeClr>
                </a:solidFill>
                <a:sym typeface="Wingdings" panose="05000000000000000000" pitchFamily="2" charset="2"/>
              </a:rPr>
              <a:t>Shapelet</a:t>
            </a:r>
            <a:r>
              <a:rPr lang="de-DE" sz="1400">
                <a:solidFill>
                  <a:schemeClr val="tx2">
                    <a:lumMod val="75000"/>
                  </a:schemeClr>
                </a:solidFill>
                <a:sym typeface="Wingdings" panose="05000000000000000000" pitchFamily="2" charset="2"/>
              </a:rPr>
              <a:t> </a:t>
            </a:r>
            <a:r>
              <a:rPr lang="de-DE" sz="1400" err="1">
                <a:solidFill>
                  <a:schemeClr val="tx2">
                    <a:lumMod val="75000"/>
                  </a:schemeClr>
                </a:solidFill>
                <a:sym typeface="Wingdings" panose="05000000000000000000" pitchFamily="2" charset="2"/>
              </a:rPr>
              <a:t>Tranform</a:t>
            </a:r>
            <a:r>
              <a:rPr lang="de-DE" sz="1400">
                <a:solidFill>
                  <a:schemeClr val="tx2">
                    <a:lumMod val="75000"/>
                  </a:schemeClr>
                </a:solidFill>
                <a:sym typeface="Wingdings" panose="05000000000000000000" pitchFamily="2" charset="2"/>
              </a:rPr>
              <a:t>, …)</a:t>
            </a:r>
          </a:p>
          <a:p>
            <a:pPr marL="1200150" lvl="2"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Erklären warum L.S. genommen</a:t>
            </a:r>
          </a:p>
          <a:p>
            <a:pPr marL="742950" lvl="1"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Was haben wir gemacht, was haben wir rausgefunden, was schließen wir daraus (nächste Schritte)</a:t>
            </a:r>
          </a:p>
          <a:p>
            <a:pPr marL="285750"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CNN &amp; </a:t>
            </a:r>
            <a:r>
              <a:rPr lang="de-DE" sz="1400" err="1">
                <a:solidFill>
                  <a:schemeClr val="tx2">
                    <a:lumMod val="75000"/>
                  </a:schemeClr>
                </a:solidFill>
                <a:sym typeface="Wingdings" panose="05000000000000000000" pitchFamily="2" charset="2"/>
              </a:rPr>
              <a:t>Grad_Cam</a:t>
            </a:r>
            <a:endParaRPr lang="de-DE" sz="1400">
              <a:solidFill>
                <a:schemeClr val="tx2">
                  <a:lumMod val="75000"/>
                </a:schemeClr>
              </a:solidFill>
              <a:sym typeface="Wingdings" panose="05000000000000000000" pitchFamily="2" charset="2"/>
            </a:endParaRPr>
          </a:p>
          <a:p>
            <a:pPr marL="742950" lvl="1"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Input: selben Datensatz wie für </a:t>
            </a:r>
            <a:r>
              <a:rPr lang="de-DE" sz="1400" err="1">
                <a:solidFill>
                  <a:schemeClr val="tx2">
                    <a:lumMod val="75000"/>
                  </a:schemeClr>
                </a:solidFill>
                <a:sym typeface="Wingdings" panose="05000000000000000000" pitchFamily="2" charset="2"/>
              </a:rPr>
              <a:t>Shapelets</a:t>
            </a:r>
            <a:r>
              <a:rPr lang="de-DE" sz="1400">
                <a:solidFill>
                  <a:schemeClr val="tx2">
                    <a:lumMod val="75000"/>
                  </a:schemeClr>
                </a:solidFill>
                <a:sym typeface="Wingdings" panose="05000000000000000000" pitchFamily="2" charset="2"/>
              </a:rPr>
              <a:t>, Output: Visualisierung von Signifikanz bzgl. Klassifizierung der einzelnen Bereiche und Stellen entlang der Zeitreihe</a:t>
            </a:r>
          </a:p>
          <a:p>
            <a:pPr marL="742950" lvl="1"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Special: Anwendung des Computer Vision (2D) auf Zeitreihen-Use Case anwenden (1D)</a:t>
            </a:r>
          </a:p>
          <a:p>
            <a:pPr marL="1200150" lvl="2"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Zeitreihe = „eindimensionales Bild“</a:t>
            </a:r>
          </a:p>
          <a:p>
            <a:pPr marL="742950" lvl="1" indent="-285750">
              <a:lnSpc>
                <a:spcPct val="110000"/>
              </a:lnSpc>
              <a:spcAft>
                <a:spcPts val="1000"/>
              </a:spcAft>
              <a:buFont typeface="Wingdings" panose="05000000000000000000" pitchFamily="2" charset="2"/>
              <a:buChar char="à"/>
            </a:pPr>
            <a:r>
              <a:rPr lang="de-DE" sz="1400" err="1">
                <a:solidFill>
                  <a:schemeClr val="tx2">
                    <a:lumMod val="75000"/>
                  </a:schemeClr>
                </a:solidFill>
                <a:sym typeface="Wingdings" panose="05000000000000000000" pitchFamily="2" charset="2"/>
              </a:rPr>
              <a:t>Grad_Cam</a:t>
            </a:r>
            <a:r>
              <a:rPr lang="de-DE" sz="1400">
                <a:solidFill>
                  <a:schemeClr val="tx2">
                    <a:lumMod val="75000"/>
                  </a:schemeClr>
                </a:solidFill>
                <a:sym typeface="Wingdings" panose="05000000000000000000" pitchFamily="2" charset="2"/>
              </a:rPr>
              <a:t> Anwendung an </a:t>
            </a:r>
            <a:r>
              <a:rPr lang="de-DE" sz="1400" err="1">
                <a:solidFill>
                  <a:schemeClr val="tx2">
                    <a:lumMod val="75000"/>
                  </a:schemeClr>
                </a:solidFill>
                <a:sym typeface="Wingdings" panose="05000000000000000000" pitchFamily="2" charset="2"/>
              </a:rPr>
              <a:t>klassichen</a:t>
            </a:r>
            <a:r>
              <a:rPr lang="de-DE" sz="1400">
                <a:solidFill>
                  <a:schemeClr val="tx2">
                    <a:lumMod val="75000"/>
                  </a:schemeClr>
                </a:solidFill>
                <a:sym typeface="Wingdings" panose="05000000000000000000" pitchFamily="2" charset="2"/>
              </a:rPr>
              <a:t> Bild-Use-Case zeigen und Brücke zu unseren Zeitreihen schlagen</a:t>
            </a:r>
          </a:p>
          <a:p>
            <a:pPr marL="742950" lvl="1"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Ziel davon: Zeigen können wo bei Zeitreihe signifikante Bereiche liegen</a:t>
            </a:r>
          </a:p>
          <a:p>
            <a:pPr marL="742950" lvl="1"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p:txBody>
      </p:sp>
    </p:spTree>
    <p:extLst>
      <p:ext uri="{BB962C8B-B14F-4D97-AF65-F5344CB8AC3E}">
        <p14:creationId xmlns:p14="http://schemas.microsoft.com/office/powerpoint/2010/main" val="19431076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47CEF4-7623-45B6-C789-5E21F82F3CB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D0CA54-E474-5CF7-5822-B2BCC249BA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04D0CA54-E474-5CF7-5822-B2BCC249BA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0743346C-27D1-A870-6F4A-A9AD02B1EF63}"/>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513638BA-D740-0BC7-D360-855B644B6913}"/>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E356FB02-5BFC-89C4-C934-A82B021C8D3F}"/>
              </a:ext>
            </a:extLst>
          </p:cNvPr>
          <p:cNvSpPr>
            <a:spLocks noGrp="1"/>
          </p:cNvSpPr>
          <p:nvPr>
            <p:ph type="sldNum" sz="quarter" idx="12"/>
          </p:nvPr>
        </p:nvSpPr>
        <p:spPr/>
        <p:txBody>
          <a:bodyPr/>
          <a:lstStyle/>
          <a:p>
            <a:fld id="{02CEFE82-39F2-4F47-8A0C-D5AB3496FA5C}" type="slidenum">
              <a:rPr lang="de-DE" noProof="0" smtClean="0"/>
              <a:pPr/>
              <a:t>24</a:t>
            </a:fld>
            <a:endParaRPr lang="de-DE" noProof="0"/>
          </a:p>
        </p:txBody>
      </p:sp>
      <p:sp>
        <p:nvSpPr>
          <p:cNvPr id="5" name="Titel 4">
            <a:extLst>
              <a:ext uri="{FF2B5EF4-FFF2-40B4-BE49-F238E27FC236}">
                <a16:creationId xmlns:a16="http://schemas.microsoft.com/office/drawing/2014/main" id="{D5D318F7-7B5D-CCE6-063C-836190C28378}"/>
              </a:ext>
            </a:extLst>
          </p:cNvPr>
          <p:cNvSpPr>
            <a:spLocks noGrp="1"/>
          </p:cNvSpPr>
          <p:nvPr>
            <p:ph type="title"/>
          </p:nvPr>
        </p:nvSpPr>
        <p:spPr/>
        <p:txBody>
          <a:bodyPr vert="horz"/>
          <a:lstStyle/>
          <a:p>
            <a:r>
              <a:rPr lang="de-DE"/>
              <a:t>Aktueller Fortschritt</a:t>
            </a:r>
          </a:p>
        </p:txBody>
      </p:sp>
      <p:sp>
        <p:nvSpPr>
          <p:cNvPr id="6" name="Textplatzhalter 5">
            <a:extLst>
              <a:ext uri="{FF2B5EF4-FFF2-40B4-BE49-F238E27FC236}">
                <a16:creationId xmlns:a16="http://schemas.microsoft.com/office/drawing/2014/main" id="{8BF5FC59-0C69-D472-53AF-512957E0F86F}"/>
              </a:ext>
            </a:extLst>
          </p:cNvPr>
          <p:cNvSpPr>
            <a:spLocks noGrp="1"/>
          </p:cNvSpPr>
          <p:nvPr>
            <p:ph type="body" sz="quarter" idx="28"/>
          </p:nvPr>
        </p:nvSpPr>
        <p:spPr/>
        <p:txBody>
          <a:bodyPr/>
          <a:lstStyle/>
          <a:p>
            <a:r>
              <a:rPr lang="de-DE"/>
              <a:t>Strukturierung Idee</a:t>
            </a:r>
          </a:p>
        </p:txBody>
      </p:sp>
      <p:sp>
        <p:nvSpPr>
          <p:cNvPr id="8" name="Textfeld 7">
            <a:extLst>
              <a:ext uri="{FF2B5EF4-FFF2-40B4-BE49-F238E27FC236}">
                <a16:creationId xmlns:a16="http://schemas.microsoft.com/office/drawing/2014/main" id="{653F3885-E0E7-61DC-EE85-463013B7092F}"/>
              </a:ext>
            </a:extLst>
          </p:cNvPr>
          <p:cNvSpPr txBox="1"/>
          <p:nvPr/>
        </p:nvSpPr>
        <p:spPr>
          <a:xfrm>
            <a:off x="539751" y="1511370"/>
            <a:ext cx="9669849" cy="4286752"/>
          </a:xfrm>
          <a:prstGeom prst="rect">
            <a:avLst/>
          </a:prstGeom>
          <a:solidFill>
            <a:schemeClr val="bg1"/>
          </a:solidFill>
        </p:spPr>
        <p:txBody>
          <a:bodyPr wrap="square" lIns="0" tIns="0" rIns="0" bIns="0" rtlCol="0">
            <a:noAutofit/>
          </a:bodyPr>
          <a:lstStyle/>
          <a:p>
            <a:pPr algn="l">
              <a:lnSpc>
                <a:spcPct val="110000"/>
              </a:lnSpc>
              <a:spcAft>
                <a:spcPts val="1000"/>
              </a:spcAft>
            </a:pPr>
            <a:r>
              <a:rPr lang="de-DE" sz="1400">
                <a:solidFill>
                  <a:schemeClr val="tx2">
                    <a:lumMod val="75000"/>
                  </a:schemeClr>
                </a:solidFill>
              </a:rPr>
              <a:t>Ergebnis von Learning </a:t>
            </a:r>
            <a:r>
              <a:rPr lang="de-DE" sz="1400" err="1">
                <a:solidFill>
                  <a:schemeClr val="tx2">
                    <a:lumMod val="75000"/>
                  </a:schemeClr>
                </a:solidFill>
              </a:rPr>
              <a:t>Shapelets</a:t>
            </a:r>
            <a:r>
              <a:rPr lang="de-DE" sz="1400">
                <a:solidFill>
                  <a:schemeClr val="tx2">
                    <a:lumMod val="75000"/>
                  </a:schemeClr>
                </a:solidFill>
              </a:rPr>
              <a:t>:</a:t>
            </a:r>
          </a:p>
          <a:p>
            <a:pPr marL="285750" indent="-285750" algn="l">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Chaotische Bild im </a:t>
            </a:r>
            <a:r>
              <a:rPr lang="de-DE" sz="1400" err="1">
                <a:solidFill>
                  <a:schemeClr val="tx2">
                    <a:lumMod val="75000"/>
                  </a:schemeClr>
                </a:solidFill>
                <a:sym typeface="Wingdings" panose="05000000000000000000" pitchFamily="2" charset="2"/>
              </a:rPr>
              <a:t>Momement</a:t>
            </a: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r>
              <a:rPr lang="de-DE" sz="1400" err="1">
                <a:solidFill>
                  <a:schemeClr val="tx2">
                    <a:lumMod val="75000"/>
                  </a:schemeClr>
                </a:solidFill>
                <a:sym typeface="Wingdings" panose="05000000000000000000" pitchFamily="2" charset="2"/>
              </a:rPr>
              <a:t>Shapelets</a:t>
            </a:r>
            <a:r>
              <a:rPr lang="de-DE" sz="1400">
                <a:solidFill>
                  <a:schemeClr val="tx2">
                    <a:lumMod val="75000"/>
                  </a:schemeClr>
                </a:solidFill>
                <a:sym typeface="Wingdings" panose="05000000000000000000" pitchFamily="2" charset="2"/>
              </a:rPr>
              <a:t> sind stark verstreut und lassen kein eindeutiges Bild zu / schwer zu interpretieren</a:t>
            </a: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algn="l">
              <a:lnSpc>
                <a:spcPct val="110000"/>
              </a:lnSpc>
              <a:spcAft>
                <a:spcPts val="1000"/>
              </a:spcAft>
            </a:pPr>
            <a:r>
              <a:rPr lang="de-DE" sz="1400">
                <a:solidFill>
                  <a:schemeClr val="tx2">
                    <a:lumMod val="75000"/>
                  </a:schemeClr>
                </a:solidFill>
                <a:sym typeface="Wingdings" panose="05000000000000000000" pitchFamily="2" charset="2"/>
              </a:rPr>
              <a:t>Idee </a:t>
            </a:r>
          </a:p>
          <a:p>
            <a:pPr marL="285750" indent="-285750" algn="l">
              <a:lnSpc>
                <a:spcPct val="110000"/>
              </a:lnSpc>
              <a:spcAft>
                <a:spcPts val="1000"/>
              </a:spcAft>
              <a:buFont typeface="Wingdings" panose="05000000000000000000" pitchFamily="2" charset="2"/>
              <a:buChar char="à"/>
            </a:pPr>
            <a:r>
              <a:rPr lang="de-DE" sz="1400" err="1">
                <a:solidFill>
                  <a:schemeClr val="tx2">
                    <a:lumMod val="75000"/>
                  </a:schemeClr>
                </a:solidFill>
                <a:sym typeface="Wingdings" panose="05000000000000000000" pitchFamily="2" charset="2"/>
              </a:rPr>
              <a:t>Shapelts</a:t>
            </a:r>
            <a:r>
              <a:rPr lang="de-DE" sz="1400">
                <a:solidFill>
                  <a:schemeClr val="tx2">
                    <a:lumMod val="75000"/>
                  </a:schemeClr>
                </a:solidFill>
                <a:sym typeface="Wingdings" panose="05000000000000000000" pitchFamily="2" charset="2"/>
              </a:rPr>
              <a:t> geben signifikante Bereiche vor</a:t>
            </a:r>
          </a:p>
          <a:p>
            <a:pPr marL="285750" indent="-285750" algn="l">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Diese Bereiche können „ausgenullt“ werden</a:t>
            </a:r>
          </a:p>
          <a:p>
            <a:pPr marL="742950" lvl="1"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Geschieht über </a:t>
            </a:r>
            <a:r>
              <a:rPr lang="de-DE" sz="1400" err="1">
                <a:solidFill>
                  <a:schemeClr val="tx2">
                    <a:lumMod val="75000"/>
                  </a:schemeClr>
                </a:solidFill>
                <a:sym typeface="Wingdings" panose="05000000000000000000" pitchFamily="2" charset="2"/>
              </a:rPr>
              <a:t>mean-function</a:t>
            </a:r>
            <a:r>
              <a:rPr lang="de-DE" sz="1400">
                <a:solidFill>
                  <a:schemeClr val="tx2">
                    <a:lumMod val="75000"/>
                  </a:schemeClr>
                </a:solidFill>
                <a:sym typeface="Wingdings" panose="05000000000000000000" pitchFamily="2" charset="2"/>
              </a:rPr>
              <a:t>  der Mittelwert über alle Zeitreihen an einer bestimmten Stelle</a:t>
            </a:r>
          </a:p>
          <a:p>
            <a:pPr marL="742950" lvl="1"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Führt zu einer Modifikation der Zeitreihen des test-</a:t>
            </a:r>
            <a:r>
              <a:rPr lang="de-DE" sz="1400" err="1">
                <a:solidFill>
                  <a:schemeClr val="tx2">
                    <a:lumMod val="75000"/>
                  </a:schemeClr>
                </a:solidFill>
                <a:sym typeface="Wingdings" panose="05000000000000000000" pitchFamily="2" charset="2"/>
              </a:rPr>
              <a:t>Trainingset</a:t>
            </a:r>
            <a:endParaRPr lang="de-DE" sz="1400">
              <a:solidFill>
                <a:schemeClr val="tx2">
                  <a:lumMod val="75000"/>
                </a:schemeClr>
              </a:solidFill>
              <a:sym typeface="Wingdings" panose="05000000000000000000" pitchFamily="2" charset="2"/>
            </a:endParaRPr>
          </a:p>
          <a:p>
            <a:pPr marL="742950" lvl="1"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a:lnSpc>
                <a:spcPct val="110000"/>
              </a:lnSpc>
              <a:spcAft>
                <a:spcPts val="1000"/>
              </a:spcAft>
            </a:pPr>
            <a:r>
              <a:rPr lang="de-DE" sz="1400">
                <a:solidFill>
                  <a:schemeClr val="tx2">
                    <a:lumMod val="75000"/>
                  </a:schemeClr>
                </a:solidFill>
                <a:sym typeface="Wingdings" panose="05000000000000000000" pitchFamily="2" charset="2"/>
              </a:rPr>
              <a:t>Validierung der </a:t>
            </a:r>
            <a:r>
              <a:rPr lang="de-DE" sz="1400" err="1">
                <a:solidFill>
                  <a:schemeClr val="tx2">
                    <a:lumMod val="75000"/>
                  </a:schemeClr>
                </a:solidFill>
                <a:sym typeface="Wingdings" panose="05000000000000000000" pitchFamily="2" charset="2"/>
              </a:rPr>
              <a:t>Shapelets</a:t>
            </a:r>
            <a:endParaRPr lang="de-DE" sz="1400">
              <a:solidFill>
                <a:schemeClr val="tx2">
                  <a:lumMod val="75000"/>
                </a:schemeClr>
              </a:solidFill>
              <a:sym typeface="Wingdings" panose="05000000000000000000" pitchFamily="2" charset="2"/>
            </a:endParaRPr>
          </a:p>
          <a:p>
            <a:pPr marL="285750"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Testen der neuen Zeitreihen des test-</a:t>
            </a:r>
            <a:r>
              <a:rPr lang="de-DE" sz="1400" err="1">
                <a:solidFill>
                  <a:schemeClr val="tx2">
                    <a:lumMod val="75000"/>
                  </a:schemeClr>
                </a:solidFill>
                <a:sym typeface="Wingdings" panose="05000000000000000000" pitchFamily="2" charset="2"/>
              </a:rPr>
              <a:t>Trainingset</a:t>
            </a:r>
            <a:r>
              <a:rPr lang="de-DE" sz="1400">
                <a:solidFill>
                  <a:schemeClr val="tx2">
                    <a:lumMod val="75000"/>
                  </a:schemeClr>
                </a:solidFill>
                <a:sym typeface="Wingdings" panose="05000000000000000000" pitchFamily="2" charset="2"/>
              </a:rPr>
              <a:t> auf CNN </a:t>
            </a:r>
          </a:p>
          <a:p>
            <a:pPr marL="285750" indent="-285750">
              <a:lnSpc>
                <a:spcPct val="110000"/>
              </a:lnSpc>
              <a:spcAft>
                <a:spcPts val="1000"/>
              </a:spcAft>
              <a:buFont typeface="Wingdings" panose="05000000000000000000" pitchFamily="2" charset="2"/>
              <a:buChar char="à"/>
            </a:pPr>
            <a:r>
              <a:rPr lang="de-DE" sz="1400">
                <a:solidFill>
                  <a:schemeClr val="tx2">
                    <a:lumMod val="75000"/>
                  </a:schemeClr>
                </a:solidFill>
                <a:sym typeface="Wingdings" panose="05000000000000000000" pitchFamily="2" charset="2"/>
              </a:rPr>
              <a:t>Vergleich der Ergebnisse </a:t>
            </a:r>
          </a:p>
          <a:p>
            <a:pPr marL="742950" lvl="1"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p:txBody>
      </p:sp>
    </p:spTree>
    <p:extLst>
      <p:ext uri="{BB962C8B-B14F-4D97-AF65-F5344CB8AC3E}">
        <p14:creationId xmlns:p14="http://schemas.microsoft.com/office/powerpoint/2010/main" val="8634249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2EBE187-28BB-6E4B-28B3-EB8E0FCB97A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39F51DA-4983-ABDB-0158-1BD6C83AA83E}"/>
              </a:ext>
            </a:extLst>
          </p:cNvPr>
          <p:cNvGraphicFramePr>
            <a:graphicFrameLocks noChangeAspect="1"/>
          </p:cNvGraphicFramePr>
          <p:nvPr>
            <p:custDataLst>
              <p:tags r:id="rId1"/>
            </p:custDataLst>
            <p:extLst>
              <p:ext uri="{D42A27DB-BD31-4B8C-83A1-F6EECF244321}">
                <p14:modId xmlns:p14="http://schemas.microsoft.com/office/powerpoint/2010/main" val="4115875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539F51DA-4983-ABDB-0158-1BD6C83AA8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02FCCF6F-7414-CF8D-946D-689FB8EF6546}"/>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DD43A565-8523-252F-489E-D2C4E016018A}"/>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83ECD593-A3D4-7411-E2A0-036CFE6E24D9}"/>
              </a:ext>
            </a:extLst>
          </p:cNvPr>
          <p:cNvSpPr>
            <a:spLocks noGrp="1"/>
          </p:cNvSpPr>
          <p:nvPr>
            <p:ph type="sldNum" sz="quarter" idx="12"/>
          </p:nvPr>
        </p:nvSpPr>
        <p:spPr/>
        <p:txBody>
          <a:bodyPr/>
          <a:lstStyle/>
          <a:p>
            <a:fld id="{02CEFE82-39F2-4F47-8A0C-D5AB3496FA5C}" type="slidenum">
              <a:rPr lang="de-DE" noProof="0" smtClean="0"/>
              <a:pPr/>
              <a:t>25</a:t>
            </a:fld>
            <a:endParaRPr lang="de-DE" noProof="0"/>
          </a:p>
        </p:txBody>
      </p:sp>
      <p:sp>
        <p:nvSpPr>
          <p:cNvPr id="5" name="Titel 4">
            <a:extLst>
              <a:ext uri="{FF2B5EF4-FFF2-40B4-BE49-F238E27FC236}">
                <a16:creationId xmlns:a16="http://schemas.microsoft.com/office/drawing/2014/main" id="{C8AAB803-E7E2-7CBB-3A52-335A5CBD666E}"/>
              </a:ext>
            </a:extLst>
          </p:cNvPr>
          <p:cNvSpPr>
            <a:spLocks noGrp="1"/>
          </p:cNvSpPr>
          <p:nvPr>
            <p:ph type="title"/>
          </p:nvPr>
        </p:nvSpPr>
        <p:spPr/>
        <p:txBody>
          <a:bodyPr vert="horz"/>
          <a:lstStyle/>
          <a:p>
            <a:r>
              <a:rPr lang="de-DE"/>
              <a:t>Komplikationen</a:t>
            </a:r>
          </a:p>
        </p:txBody>
      </p:sp>
      <p:sp>
        <p:nvSpPr>
          <p:cNvPr id="8" name="Textfeld 7">
            <a:extLst>
              <a:ext uri="{FF2B5EF4-FFF2-40B4-BE49-F238E27FC236}">
                <a16:creationId xmlns:a16="http://schemas.microsoft.com/office/drawing/2014/main" id="{7C782300-9763-761B-653B-1365DCBD21A4}"/>
              </a:ext>
            </a:extLst>
          </p:cNvPr>
          <p:cNvSpPr txBox="1"/>
          <p:nvPr/>
        </p:nvSpPr>
        <p:spPr>
          <a:xfrm>
            <a:off x="539751" y="1511370"/>
            <a:ext cx="9669849" cy="3157813"/>
          </a:xfrm>
          <a:prstGeom prst="rect">
            <a:avLst/>
          </a:prstGeom>
          <a:solidFill>
            <a:schemeClr val="bg1"/>
          </a:solidFill>
        </p:spPr>
        <p:txBody>
          <a:bodyPr wrap="square" lIns="0" tIns="0" rIns="0" bIns="0" rtlCol="0">
            <a:noAutofit/>
          </a:bodyPr>
          <a:lstStyle/>
          <a:p>
            <a:pPr algn="l">
              <a:lnSpc>
                <a:spcPct val="110000"/>
              </a:lnSpc>
              <a:spcAft>
                <a:spcPts val="1000"/>
              </a:spcAft>
            </a:pPr>
            <a:r>
              <a:rPr lang="de-DE" sz="1400" b="1">
                <a:solidFill>
                  <a:schemeClr val="tx2">
                    <a:lumMod val="75000"/>
                  </a:schemeClr>
                </a:solidFill>
                <a:sym typeface="Wingdings" panose="05000000000000000000" pitchFamily="2" charset="2"/>
              </a:rPr>
              <a:t>Fragen:</a:t>
            </a:r>
          </a:p>
          <a:p>
            <a:pPr algn="l">
              <a:lnSpc>
                <a:spcPct val="110000"/>
              </a:lnSpc>
              <a:spcAft>
                <a:spcPts val="1000"/>
              </a:spcAft>
            </a:pPr>
            <a:endParaRPr lang="de-DE" sz="1400">
              <a:solidFill>
                <a:schemeClr val="tx2">
                  <a:lumMod val="75000"/>
                </a:schemeClr>
              </a:solidFill>
              <a:sym typeface="Wingdings" panose="05000000000000000000" pitchFamily="2" charset="2"/>
            </a:endParaRPr>
          </a:p>
          <a:p>
            <a:pPr algn="l">
              <a:lnSpc>
                <a:spcPct val="110000"/>
              </a:lnSpc>
              <a:spcAft>
                <a:spcPts val="1000"/>
              </a:spcAft>
            </a:pPr>
            <a:r>
              <a:rPr lang="de-DE" sz="1400">
                <a:solidFill>
                  <a:schemeClr val="tx2">
                    <a:lumMod val="75000"/>
                  </a:schemeClr>
                </a:solidFill>
                <a:sym typeface="Wingdings" panose="05000000000000000000" pitchFamily="2" charset="2"/>
              </a:rPr>
              <a:t>Wie können wir unsere Ergebnisse vom Learning </a:t>
            </a:r>
            <a:r>
              <a:rPr lang="de-DE" sz="1400" err="1">
                <a:solidFill>
                  <a:schemeClr val="tx2">
                    <a:lumMod val="75000"/>
                  </a:schemeClr>
                </a:solidFill>
                <a:sym typeface="Wingdings" panose="05000000000000000000" pitchFamily="2" charset="2"/>
              </a:rPr>
              <a:t>Shapelet</a:t>
            </a:r>
            <a:r>
              <a:rPr lang="de-DE" sz="1400">
                <a:solidFill>
                  <a:schemeClr val="tx2">
                    <a:lumMod val="75000"/>
                  </a:schemeClr>
                </a:solidFill>
                <a:sym typeface="Wingdings" panose="05000000000000000000" pitchFamily="2" charset="2"/>
              </a:rPr>
              <a:t> Algorithmus interpretieren?</a:t>
            </a:r>
          </a:p>
          <a:p>
            <a:pPr algn="l">
              <a:lnSpc>
                <a:spcPct val="110000"/>
              </a:lnSpc>
              <a:spcAft>
                <a:spcPts val="1000"/>
              </a:spcAft>
            </a:pPr>
            <a:r>
              <a:rPr lang="de-DE" sz="1400">
                <a:solidFill>
                  <a:schemeClr val="tx2">
                    <a:lumMod val="75000"/>
                  </a:schemeClr>
                </a:solidFill>
                <a:sym typeface="Wingdings" panose="05000000000000000000" pitchFamily="2" charset="2"/>
              </a:rPr>
              <a:t>Wie sollten Ergebnisse aussehen, um die Idee vervollständigen zu können?</a:t>
            </a:r>
          </a:p>
          <a:p>
            <a:pPr algn="l">
              <a:lnSpc>
                <a:spcPct val="110000"/>
              </a:lnSpc>
              <a:spcAft>
                <a:spcPts val="1000"/>
              </a:spcAft>
            </a:pPr>
            <a:r>
              <a:rPr lang="de-DE" sz="1400">
                <a:solidFill>
                  <a:schemeClr val="tx2">
                    <a:lumMod val="75000"/>
                  </a:schemeClr>
                </a:solidFill>
                <a:sym typeface="Wingdings" panose="05000000000000000000" pitchFamily="2" charset="2"/>
              </a:rPr>
              <a:t>Was sind Ursachen und Stellschrauben dieser Diskrepanz?</a:t>
            </a:r>
          </a:p>
          <a:p>
            <a:pPr algn="l">
              <a:lnSpc>
                <a:spcPct val="110000"/>
              </a:lnSpc>
              <a:spcAft>
                <a:spcPts val="1000"/>
              </a:spcAft>
            </a:pPr>
            <a:endParaRPr lang="de-DE" sz="1400">
              <a:solidFill>
                <a:schemeClr val="tx2">
                  <a:lumMod val="75000"/>
                </a:schemeClr>
              </a:solidFill>
              <a:sym typeface="Wingdings" panose="05000000000000000000" pitchFamily="2" charset="2"/>
            </a:endParaRPr>
          </a:p>
          <a:p>
            <a:pPr algn="l">
              <a:lnSpc>
                <a:spcPct val="110000"/>
              </a:lnSpc>
              <a:spcAft>
                <a:spcPts val="1000"/>
              </a:spcAft>
            </a:pPr>
            <a:r>
              <a:rPr lang="de-DE" sz="1400">
                <a:solidFill>
                  <a:schemeClr val="tx2">
                    <a:lumMod val="75000"/>
                  </a:schemeClr>
                </a:solidFill>
                <a:sym typeface="Wingdings" panose="05000000000000000000" pitchFamily="2" charset="2"/>
              </a:rPr>
              <a:t>Andere Patter Extractor und Data Sets:</a:t>
            </a:r>
          </a:p>
          <a:p>
            <a:pPr marL="0" marR="0" rtl="0"/>
            <a:r>
              <a:rPr lang="de-DE" sz="1400">
                <a:solidFill>
                  <a:schemeClr val="tx2">
                    <a:lumMod val="75000"/>
                  </a:schemeClr>
                </a:solidFill>
              </a:rPr>
              <a:t>Welchen Output liefern andere </a:t>
            </a:r>
            <a:r>
              <a:rPr lang="de-DE" sz="1400" err="1">
                <a:solidFill>
                  <a:schemeClr val="tx2">
                    <a:lumMod val="75000"/>
                  </a:schemeClr>
                </a:solidFill>
              </a:rPr>
              <a:t>Shapelet</a:t>
            </a:r>
            <a:r>
              <a:rPr lang="de-DE" sz="1400">
                <a:solidFill>
                  <a:schemeClr val="tx2">
                    <a:lumMod val="75000"/>
                  </a:schemeClr>
                </a:solidFill>
              </a:rPr>
              <a:t> Algorithmen?</a:t>
            </a:r>
          </a:p>
          <a:p>
            <a:pPr marL="0" marR="0" rtl="0"/>
            <a:r>
              <a:rPr lang="de-DE" sz="1400">
                <a:solidFill>
                  <a:schemeClr val="tx2">
                    <a:lumMod val="75000"/>
                  </a:schemeClr>
                </a:solidFill>
              </a:rPr>
              <a:t> </a:t>
            </a:r>
          </a:p>
          <a:p>
            <a:pPr marL="0" marR="0" rtl="0"/>
            <a:r>
              <a:rPr lang="de-DE" sz="1400">
                <a:solidFill>
                  <a:schemeClr val="tx2">
                    <a:lumMod val="75000"/>
                  </a:schemeClr>
                </a:solidFill>
              </a:rPr>
              <a:t>Welches Ergebnis liefert Learning </a:t>
            </a:r>
            <a:r>
              <a:rPr lang="de-DE" sz="1400" err="1">
                <a:solidFill>
                  <a:schemeClr val="tx2">
                    <a:lumMod val="75000"/>
                  </a:schemeClr>
                </a:solidFill>
              </a:rPr>
              <a:t>Shapelet</a:t>
            </a:r>
            <a:r>
              <a:rPr lang="de-DE" sz="1400">
                <a:solidFill>
                  <a:schemeClr val="tx2">
                    <a:lumMod val="75000"/>
                  </a:schemeClr>
                </a:solidFill>
              </a:rPr>
              <a:t> verglichen mit anderen Data Sets?</a:t>
            </a:r>
          </a:p>
          <a:p>
            <a:pPr algn="l">
              <a:lnSpc>
                <a:spcPct val="110000"/>
              </a:lnSpc>
              <a:spcAft>
                <a:spcPts val="1000"/>
              </a:spcAft>
            </a:pPr>
            <a:endParaRPr lang="de-DE" sz="1400">
              <a:solidFill>
                <a:schemeClr val="tx2">
                  <a:lumMod val="75000"/>
                </a:schemeClr>
              </a:solidFill>
              <a:sym typeface="Wingdings" panose="05000000000000000000" pitchFamily="2" charset="2"/>
            </a:endParaRPr>
          </a:p>
        </p:txBody>
      </p:sp>
    </p:spTree>
    <p:extLst>
      <p:ext uri="{BB962C8B-B14F-4D97-AF65-F5344CB8AC3E}">
        <p14:creationId xmlns:p14="http://schemas.microsoft.com/office/powerpoint/2010/main" val="763709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25AD59-1EF2-86EF-0848-938E17002B28}"/>
            </a:ext>
          </a:extLst>
        </p:cNvPr>
        <p:cNvGrpSpPr/>
        <p:nvPr/>
      </p:nvGrpSpPr>
      <p:grpSpPr>
        <a:xfrm>
          <a:off x="0" y="0"/>
          <a:ext cx="0" cy="0"/>
          <a:chOff x="0" y="0"/>
          <a:chExt cx="0" cy="0"/>
        </a:xfrm>
      </p:grpSpPr>
      <p:sp>
        <p:nvSpPr>
          <p:cNvPr id="3" name="Datumsplatzhalter 2">
            <a:extLst>
              <a:ext uri="{FF2B5EF4-FFF2-40B4-BE49-F238E27FC236}">
                <a16:creationId xmlns:a16="http://schemas.microsoft.com/office/drawing/2014/main" id="{4A5701C4-5BD8-9720-BF1B-3799FCEC8930}"/>
              </a:ext>
            </a:extLst>
          </p:cNvPr>
          <p:cNvSpPr>
            <a:spLocks noGrp="1"/>
          </p:cNvSpPr>
          <p:nvPr>
            <p:ph type="dt" sz="half" idx="19"/>
          </p:nvPr>
        </p:nvSpPr>
        <p:spPr/>
        <p:txBody>
          <a:bodyPr/>
          <a:lstStyle/>
          <a:p>
            <a:fld id="{469FAAA5-EE5E-4762-B607-2A32CDA2AED9}" type="datetime1">
              <a:rPr lang="de-DE" noProof="0" smtClean="0"/>
              <a:t>15.01.2025</a:t>
            </a:fld>
            <a:endParaRPr lang="de-DE" noProof="0"/>
          </a:p>
        </p:txBody>
      </p:sp>
      <p:sp>
        <p:nvSpPr>
          <p:cNvPr id="4" name="Fußzeilenplatzhalter 3">
            <a:extLst>
              <a:ext uri="{FF2B5EF4-FFF2-40B4-BE49-F238E27FC236}">
                <a16:creationId xmlns:a16="http://schemas.microsoft.com/office/drawing/2014/main" id="{0D4ED692-9E81-1DA3-B04D-DC840B0DF353}"/>
              </a:ext>
            </a:extLst>
          </p:cNvPr>
          <p:cNvSpPr>
            <a:spLocks noGrp="1"/>
          </p:cNvSpPr>
          <p:nvPr>
            <p:ph type="ftr" sz="quarter" idx="20"/>
          </p:nvPr>
        </p:nvSpPr>
        <p:spPr/>
        <p:txBody>
          <a:bodyPr/>
          <a:lstStyle/>
          <a:p>
            <a:r>
              <a:rPr lang="de-DE" noProof="0"/>
              <a:t>FZI Forschungszentrum Informatik</a:t>
            </a:r>
          </a:p>
        </p:txBody>
      </p:sp>
      <p:sp>
        <p:nvSpPr>
          <p:cNvPr id="5" name="Foliennummernplatzhalter 4">
            <a:extLst>
              <a:ext uri="{FF2B5EF4-FFF2-40B4-BE49-F238E27FC236}">
                <a16:creationId xmlns:a16="http://schemas.microsoft.com/office/drawing/2014/main" id="{4B3A064F-CC0B-AB2C-18F2-8738FA0AF600}"/>
              </a:ext>
            </a:extLst>
          </p:cNvPr>
          <p:cNvSpPr>
            <a:spLocks noGrp="1"/>
          </p:cNvSpPr>
          <p:nvPr>
            <p:ph type="sldNum" sz="quarter" idx="21"/>
          </p:nvPr>
        </p:nvSpPr>
        <p:spPr/>
        <p:txBody>
          <a:bodyPr/>
          <a:lstStyle/>
          <a:p>
            <a:fld id="{02CEFE82-39F2-4F47-8A0C-D5AB3496FA5C}" type="slidenum">
              <a:rPr lang="de-DE" noProof="0" smtClean="0"/>
              <a:t>26</a:t>
            </a:fld>
            <a:endParaRPr lang="de-DE" noProof="0"/>
          </a:p>
        </p:txBody>
      </p:sp>
      <p:cxnSp>
        <p:nvCxnSpPr>
          <p:cNvPr id="7" name="Gerade Verbindung mit Pfeil 6">
            <a:extLst>
              <a:ext uri="{FF2B5EF4-FFF2-40B4-BE49-F238E27FC236}">
                <a16:creationId xmlns:a16="http://schemas.microsoft.com/office/drawing/2014/main" id="{4588E48E-585F-EC3E-7547-2DBC33AF9F7D}"/>
              </a:ext>
            </a:extLst>
          </p:cNvPr>
          <p:cNvCxnSpPr>
            <a:cxnSpLocks/>
          </p:cNvCxnSpPr>
          <p:nvPr/>
        </p:nvCxnSpPr>
        <p:spPr>
          <a:xfrm flipV="1">
            <a:off x="1145828" y="840597"/>
            <a:ext cx="0" cy="4571404"/>
          </a:xfrm>
          <a:prstGeom prst="straightConnector1">
            <a:avLst/>
          </a:prstGeom>
          <a:ln w="38100">
            <a:solidFill>
              <a:schemeClr val="tx1"/>
            </a:solidFill>
            <a:tailEnd type="triangle" w="med" len="lg"/>
          </a:ln>
        </p:spPr>
        <p:style>
          <a:lnRef idx="2">
            <a:schemeClr val="accent1"/>
          </a:lnRef>
          <a:fillRef idx="0">
            <a:schemeClr val="accent1"/>
          </a:fillRef>
          <a:effectRef idx="1">
            <a:schemeClr val="accent1"/>
          </a:effectRef>
          <a:fontRef idx="minor">
            <a:schemeClr val="tx1"/>
          </a:fontRef>
        </p:style>
      </p:cxnSp>
      <p:cxnSp>
        <p:nvCxnSpPr>
          <p:cNvPr id="10" name="Gerade Verbindung mit Pfeil 9">
            <a:extLst>
              <a:ext uri="{FF2B5EF4-FFF2-40B4-BE49-F238E27FC236}">
                <a16:creationId xmlns:a16="http://schemas.microsoft.com/office/drawing/2014/main" id="{E4C683E4-9007-F20A-E64C-0751AAA7EBDF}"/>
              </a:ext>
            </a:extLst>
          </p:cNvPr>
          <p:cNvCxnSpPr>
            <a:cxnSpLocks/>
          </p:cNvCxnSpPr>
          <p:nvPr/>
        </p:nvCxnSpPr>
        <p:spPr>
          <a:xfrm>
            <a:off x="1145828" y="5403763"/>
            <a:ext cx="6440233" cy="0"/>
          </a:xfrm>
          <a:prstGeom prst="straightConnector1">
            <a:avLst/>
          </a:prstGeom>
          <a:ln w="38100">
            <a:solidFill>
              <a:schemeClr val="tx1"/>
            </a:solidFill>
            <a:tailEnd type="triangle" w="med" len="lg"/>
          </a:ln>
        </p:spPr>
        <p:style>
          <a:lnRef idx="2">
            <a:schemeClr val="accent1"/>
          </a:lnRef>
          <a:fillRef idx="0">
            <a:schemeClr val="accent1"/>
          </a:fillRef>
          <a:effectRef idx="1">
            <a:schemeClr val="accent1"/>
          </a:effectRef>
          <a:fontRef idx="minor">
            <a:schemeClr val="tx1"/>
          </a:fontRef>
        </p:style>
      </p:cxnSp>
      <p:sp>
        <p:nvSpPr>
          <p:cNvPr id="12" name="Textfeld 11">
            <a:extLst>
              <a:ext uri="{FF2B5EF4-FFF2-40B4-BE49-F238E27FC236}">
                <a16:creationId xmlns:a16="http://schemas.microsoft.com/office/drawing/2014/main" id="{D6956412-0A77-A056-59BB-58915C627AAA}"/>
              </a:ext>
            </a:extLst>
          </p:cNvPr>
          <p:cNvSpPr txBox="1"/>
          <p:nvPr/>
        </p:nvSpPr>
        <p:spPr>
          <a:xfrm rot="16200000">
            <a:off x="392354" y="2972430"/>
            <a:ext cx="1199211" cy="307737"/>
          </a:xfrm>
          <a:prstGeom prst="rect">
            <a:avLst/>
          </a:prstGeom>
          <a:noFill/>
        </p:spPr>
        <p:txBody>
          <a:bodyPr wrap="none" rtlCol="0">
            <a:spAutoFit/>
          </a:bodyPr>
          <a:lstStyle/>
          <a:p>
            <a:r>
              <a:rPr lang="de-DE" sz="1400"/>
              <a:t>Sensordaten</a:t>
            </a:r>
          </a:p>
        </p:txBody>
      </p:sp>
      <p:sp>
        <p:nvSpPr>
          <p:cNvPr id="14" name="Textfeld 13">
            <a:extLst>
              <a:ext uri="{FF2B5EF4-FFF2-40B4-BE49-F238E27FC236}">
                <a16:creationId xmlns:a16="http://schemas.microsoft.com/office/drawing/2014/main" id="{9618393D-D9E9-907D-B6BA-39A5B993A069}"/>
              </a:ext>
            </a:extLst>
          </p:cNvPr>
          <p:cNvSpPr txBox="1"/>
          <p:nvPr/>
        </p:nvSpPr>
        <p:spPr>
          <a:xfrm>
            <a:off x="4455183" y="5403763"/>
            <a:ext cx="482761" cy="307737"/>
          </a:xfrm>
          <a:prstGeom prst="rect">
            <a:avLst/>
          </a:prstGeom>
          <a:noFill/>
        </p:spPr>
        <p:txBody>
          <a:bodyPr wrap="none" rtlCol="0">
            <a:spAutoFit/>
          </a:bodyPr>
          <a:lstStyle/>
          <a:p>
            <a:r>
              <a:rPr lang="de-DE" sz="1400"/>
              <a:t>Zeit</a:t>
            </a:r>
          </a:p>
        </p:txBody>
      </p:sp>
      <mc:AlternateContent xmlns:mc="http://schemas.openxmlformats.org/markup-compatibility/2006" xmlns:p14="http://schemas.microsoft.com/office/powerpoint/2010/main">
        <mc:Choice Requires="p14">
          <p:contentPart p14:bwMode="auto" r:id="rId3">
            <p14:nvContentPartPr>
              <p14:cNvPr id="74" name="Freihand 73">
                <a:extLst>
                  <a:ext uri="{FF2B5EF4-FFF2-40B4-BE49-F238E27FC236}">
                    <a16:creationId xmlns:a16="http://schemas.microsoft.com/office/drawing/2014/main" id="{31F0BEF9-F74E-9E75-1E52-266655214A4A}"/>
                  </a:ext>
                </a:extLst>
              </p14:cNvPr>
              <p14:cNvContentPartPr/>
              <p14:nvPr/>
            </p14:nvContentPartPr>
            <p14:xfrm>
              <a:off x="1136937" y="1646862"/>
              <a:ext cx="6227189" cy="3469948"/>
            </p14:xfrm>
          </p:contentPart>
        </mc:Choice>
        <mc:Fallback xmlns="">
          <p:pic>
            <p:nvPicPr>
              <p:cNvPr id="74" name="Freihand 73">
                <a:extLst>
                  <a:ext uri="{FF2B5EF4-FFF2-40B4-BE49-F238E27FC236}">
                    <a16:creationId xmlns:a16="http://schemas.microsoft.com/office/drawing/2014/main" id="{31F0BEF9-F74E-9E75-1E52-266655214A4A}"/>
                  </a:ext>
                </a:extLst>
              </p:cNvPr>
              <p:cNvPicPr/>
              <p:nvPr/>
            </p:nvPicPr>
            <p:blipFill>
              <a:blip r:embed="rId4"/>
              <a:stretch>
                <a:fillRect/>
              </a:stretch>
            </p:blipFill>
            <p:spPr>
              <a:xfrm>
                <a:off x="1111380" y="1621305"/>
                <a:ext cx="6277582" cy="3520341"/>
              </a:xfrm>
              <a:prstGeom prst="rect">
                <a:avLst/>
              </a:prstGeom>
            </p:spPr>
          </p:pic>
        </mc:Fallback>
      </mc:AlternateContent>
      <p:pic>
        <p:nvPicPr>
          <p:cNvPr id="63" name="Grafik 62" descr="Marke 3 Silhouette">
            <a:extLst>
              <a:ext uri="{FF2B5EF4-FFF2-40B4-BE49-F238E27FC236}">
                <a16:creationId xmlns:a16="http://schemas.microsoft.com/office/drawing/2014/main" id="{DD6F3C27-D5C7-3169-1A03-E45D18B51C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17600" y="3710613"/>
            <a:ext cx="557598" cy="557598"/>
          </a:xfrm>
          <a:prstGeom prst="rect">
            <a:avLst/>
          </a:prstGeom>
        </p:spPr>
      </p:pic>
      <p:pic>
        <p:nvPicPr>
          <p:cNvPr id="66" name="Grafik 65" descr="Abzeichen Silhouette">
            <a:extLst>
              <a:ext uri="{FF2B5EF4-FFF2-40B4-BE49-F238E27FC236}">
                <a16:creationId xmlns:a16="http://schemas.microsoft.com/office/drawing/2014/main" id="{6E2096D2-D3BB-1614-CB9C-C7C3DA8DDCD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59275" y="4284532"/>
            <a:ext cx="557598" cy="557598"/>
          </a:xfrm>
          <a:prstGeom prst="rect">
            <a:avLst/>
          </a:prstGeom>
        </p:spPr>
      </p:pic>
      <p:pic>
        <p:nvPicPr>
          <p:cNvPr id="72" name="Grafik 71" descr="Marke 1 Silhouette">
            <a:extLst>
              <a:ext uri="{FF2B5EF4-FFF2-40B4-BE49-F238E27FC236}">
                <a16:creationId xmlns:a16="http://schemas.microsoft.com/office/drawing/2014/main" id="{BB628FA6-2EF3-B735-38AE-AA53204E5F9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31316" y="1816967"/>
            <a:ext cx="557598" cy="557598"/>
          </a:xfrm>
          <a:prstGeom prst="rect">
            <a:avLst/>
          </a:prstGeom>
        </p:spPr>
      </p:pic>
      <mc:AlternateContent xmlns:mc="http://schemas.openxmlformats.org/markup-compatibility/2006" xmlns:p14="http://schemas.microsoft.com/office/powerpoint/2010/main">
        <mc:Choice Requires="p14">
          <p:contentPart p14:bwMode="auto" r:id="rId11">
            <p14:nvContentPartPr>
              <p14:cNvPr id="75" name="Freihand 74">
                <a:extLst>
                  <a:ext uri="{FF2B5EF4-FFF2-40B4-BE49-F238E27FC236}">
                    <a16:creationId xmlns:a16="http://schemas.microsoft.com/office/drawing/2014/main" id="{8D845573-11B8-984A-0790-E3018906BCEE}"/>
                  </a:ext>
                </a:extLst>
              </p14:cNvPr>
              <p14:cNvContentPartPr/>
              <p14:nvPr/>
            </p14:nvContentPartPr>
            <p14:xfrm>
              <a:off x="5883288" y="2970050"/>
              <a:ext cx="353474" cy="506454"/>
            </p14:xfrm>
          </p:contentPart>
        </mc:Choice>
        <mc:Fallback xmlns="">
          <p:pic>
            <p:nvPicPr>
              <p:cNvPr id="75" name="Freihand 74">
                <a:extLst>
                  <a:ext uri="{FF2B5EF4-FFF2-40B4-BE49-F238E27FC236}">
                    <a16:creationId xmlns:a16="http://schemas.microsoft.com/office/drawing/2014/main" id="{8D845573-11B8-984A-0790-E3018906BCEE}"/>
                  </a:ext>
                </a:extLst>
              </p:cNvPr>
              <p:cNvPicPr/>
              <p:nvPr/>
            </p:nvPicPr>
            <p:blipFill>
              <a:blip r:embed="rId12"/>
              <a:stretch>
                <a:fillRect/>
              </a:stretch>
            </p:blipFill>
            <p:spPr>
              <a:xfrm>
                <a:off x="5793300" y="2790073"/>
                <a:ext cx="533091" cy="866047"/>
              </a:xfrm>
              <a:prstGeom prst="rect">
                <a:avLst/>
              </a:prstGeom>
            </p:spPr>
          </p:pic>
        </mc:Fallback>
      </mc:AlternateContent>
      <p:pic>
        <p:nvPicPr>
          <p:cNvPr id="80" name="Grafik 79" descr="Ein Bild, das Entwurf enthält.&#10;&#10;Automatisch generierte Beschreibung">
            <a:extLst>
              <a:ext uri="{FF2B5EF4-FFF2-40B4-BE49-F238E27FC236}">
                <a16:creationId xmlns:a16="http://schemas.microsoft.com/office/drawing/2014/main" id="{DB4321D7-7BFA-8747-BA4F-9235EFB8397C}"/>
              </a:ext>
            </a:extLst>
          </p:cNvPr>
          <p:cNvPicPr>
            <a:picLocks noChangeAspect="1"/>
          </p:cNvPicPr>
          <p:nvPr/>
        </p:nvPicPr>
        <p:blipFill>
          <a:blip r:embed="rId13"/>
          <a:stretch>
            <a:fillRect/>
          </a:stretch>
        </p:blipFill>
        <p:spPr>
          <a:xfrm>
            <a:off x="8311246" y="651326"/>
            <a:ext cx="1292984" cy="1986217"/>
          </a:xfrm>
          <a:prstGeom prst="rect">
            <a:avLst/>
          </a:prstGeom>
        </p:spPr>
      </p:pic>
      <p:sp>
        <p:nvSpPr>
          <p:cNvPr id="84" name="Gebogener Pfeil 83">
            <a:extLst>
              <a:ext uri="{FF2B5EF4-FFF2-40B4-BE49-F238E27FC236}">
                <a16:creationId xmlns:a16="http://schemas.microsoft.com/office/drawing/2014/main" id="{308FB2D8-DAF8-2A0D-1668-45E0F60C4CA8}"/>
              </a:ext>
            </a:extLst>
          </p:cNvPr>
          <p:cNvSpPr/>
          <p:nvPr/>
        </p:nvSpPr>
        <p:spPr>
          <a:xfrm rot="16405404">
            <a:off x="6625540" y="676219"/>
            <a:ext cx="2966613" cy="3927503"/>
          </a:xfrm>
          <a:prstGeom prst="circularArrow">
            <a:avLst>
              <a:gd name="adj1" fmla="val 7531"/>
              <a:gd name="adj2" fmla="val 897111"/>
              <a:gd name="adj3" fmla="val 20469541"/>
              <a:gd name="adj4" fmla="val 16514609"/>
              <a:gd name="adj5" fmla="val 9047"/>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85" name="Gebogener Pfeil 84">
            <a:extLst>
              <a:ext uri="{FF2B5EF4-FFF2-40B4-BE49-F238E27FC236}">
                <a16:creationId xmlns:a16="http://schemas.microsoft.com/office/drawing/2014/main" id="{E44D4F71-AF27-5BA9-6297-449ECC3427DB}"/>
              </a:ext>
            </a:extLst>
          </p:cNvPr>
          <p:cNvSpPr/>
          <p:nvPr/>
        </p:nvSpPr>
        <p:spPr>
          <a:xfrm rot="1570340">
            <a:off x="7588591" y="1418084"/>
            <a:ext cx="2966613" cy="3927503"/>
          </a:xfrm>
          <a:prstGeom prst="circularArrow">
            <a:avLst>
              <a:gd name="adj1" fmla="val 7531"/>
              <a:gd name="adj2" fmla="val 897111"/>
              <a:gd name="adj3" fmla="val 20469541"/>
              <a:gd name="adj4" fmla="val 16514609"/>
              <a:gd name="adj5" fmla="val 9047"/>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86" name="Textfeld 85">
            <a:extLst>
              <a:ext uri="{FF2B5EF4-FFF2-40B4-BE49-F238E27FC236}">
                <a16:creationId xmlns:a16="http://schemas.microsoft.com/office/drawing/2014/main" id="{2CBADAA0-1E39-C552-5E45-33A1FFE5B29A}"/>
              </a:ext>
            </a:extLst>
          </p:cNvPr>
          <p:cNvSpPr txBox="1"/>
          <p:nvPr/>
        </p:nvSpPr>
        <p:spPr>
          <a:xfrm>
            <a:off x="8609479" y="4013392"/>
            <a:ext cx="2941448" cy="1200173"/>
          </a:xfrm>
          <a:prstGeom prst="rect">
            <a:avLst/>
          </a:prstGeom>
          <a:noFill/>
        </p:spPr>
        <p:txBody>
          <a:bodyPr wrap="none" rtlCol="0">
            <a:spAutoFit/>
          </a:bodyPr>
          <a:lstStyle/>
          <a:p>
            <a:r>
              <a:rPr lang="de-DE" b="1" err="1"/>
              <a:t>Shapelet</a:t>
            </a:r>
            <a:r>
              <a:rPr lang="de-DE" b="1"/>
              <a:t>: </a:t>
            </a:r>
          </a:p>
          <a:p>
            <a:r>
              <a:rPr lang="de-DE"/>
              <a:t>Muster, welches beim</a:t>
            </a:r>
          </a:p>
          <a:p>
            <a:r>
              <a:rPr lang="de-DE"/>
              <a:t>Auftreten auf eine Störung </a:t>
            </a:r>
          </a:p>
          <a:p>
            <a:r>
              <a:rPr lang="de-DE"/>
              <a:t>hinweist</a:t>
            </a:r>
          </a:p>
        </p:txBody>
      </p:sp>
    </p:spTree>
    <p:extLst>
      <p:ext uri="{BB962C8B-B14F-4D97-AF65-F5344CB8AC3E}">
        <p14:creationId xmlns:p14="http://schemas.microsoft.com/office/powerpoint/2010/main" val="2946777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8789C8-8F0D-0368-AC89-F6A9D45F343A}"/>
            </a:ext>
          </a:extLst>
        </p:cNvPr>
        <p:cNvGrpSpPr/>
        <p:nvPr/>
      </p:nvGrpSpPr>
      <p:grpSpPr>
        <a:xfrm>
          <a:off x="0" y="0"/>
          <a:ext cx="0" cy="0"/>
          <a:chOff x="0" y="0"/>
          <a:chExt cx="0" cy="0"/>
        </a:xfrm>
      </p:grpSpPr>
      <p:sp>
        <p:nvSpPr>
          <p:cNvPr id="3" name="Datumsplatzhalter 2">
            <a:extLst>
              <a:ext uri="{FF2B5EF4-FFF2-40B4-BE49-F238E27FC236}">
                <a16:creationId xmlns:a16="http://schemas.microsoft.com/office/drawing/2014/main" id="{5CA002BC-C19C-2DB0-B24C-257809589A3B}"/>
              </a:ext>
            </a:extLst>
          </p:cNvPr>
          <p:cNvSpPr>
            <a:spLocks noGrp="1"/>
          </p:cNvSpPr>
          <p:nvPr>
            <p:ph type="dt" sz="half" idx="19"/>
          </p:nvPr>
        </p:nvSpPr>
        <p:spPr/>
        <p:txBody>
          <a:bodyPr/>
          <a:lstStyle/>
          <a:p>
            <a:fld id="{469FAAA5-EE5E-4762-B607-2A32CDA2AED9}" type="datetime1">
              <a:rPr lang="de-DE" noProof="0" smtClean="0"/>
              <a:t>15.01.2025</a:t>
            </a:fld>
            <a:endParaRPr lang="de-DE" noProof="0"/>
          </a:p>
        </p:txBody>
      </p:sp>
      <p:sp>
        <p:nvSpPr>
          <p:cNvPr id="4" name="Fußzeilenplatzhalter 3">
            <a:extLst>
              <a:ext uri="{FF2B5EF4-FFF2-40B4-BE49-F238E27FC236}">
                <a16:creationId xmlns:a16="http://schemas.microsoft.com/office/drawing/2014/main" id="{1980774B-A96C-DD58-D548-2FDCA9AAFFF1}"/>
              </a:ext>
            </a:extLst>
          </p:cNvPr>
          <p:cNvSpPr>
            <a:spLocks noGrp="1"/>
          </p:cNvSpPr>
          <p:nvPr>
            <p:ph type="ftr" sz="quarter" idx="20"/>
          </p:nvPr>
        </p:nvSpPr>
        <p:spPr/>
        <p:txBody>
          <a:bodyPr/>
          <a:lstStyle/>
          <a:p>
            <a:r>
              <a:rPr lang="de-DE" noProof="0"/>
              <a:t>FZI Forschungszentrum Informatik</a:t>
            </a:r>
          </a:p>
        </p:txBody>
      </p:sp>
      <p:sp>
        <p:nvSpPr>
          <p:cNvPr id="5" name="Foliennummernplatzhalter 4">
            <a:extLst>
              <a:ext uri="{FF2B5EF4-FFF2-40B4-BE49-F238E27FC236}">
                <a16:creationId xmlns:a16="http://schemas.microsoft.com/office/drawing/2014/main" id="{FF46650C-F388-8E84-720E-E53E91D0ABF0}"/>
              </a:ext>
            </a:extLst>
          </p:cNvPr>
          <p:cNvSpPr>
            <a:spLocks noGrp="1"/>
          </p:cNvSpPr>
          <p:nvPr>
            <p:ph type="sldNum" sz="quarter" idx="21"/>
          </p:nvPr>
        </p:nvSpPr>
        <p:spPr/>
        <p:txBody>
          <a:bodyPr/>
          <a:lstStyle/>
          <a:p>
            <a:fld id="{02CEFE82-39F2-4F47-8A0C-D5AB3496FA5C}" type="slidenum">
              <a:rPr lang="de-DE" noProof="0" smtClean="0"/>
              <a:t>27</a:t>
            </a:fld>
            <a:endParaRPr lang="de-DE" noProof="0"/>
          </a:p>
        </p:txBody>
      </p:sp>
      <p:pic>
        <p:nvPicPr>
          <p:cNvPr id="9" name="Grafik 8" descr="Ein Bild, das Diagramm, Text, Reihe, Screenshot enthält.&#10;&#10;Automatisch generierte Beschreibung">
            <a:extLst>
              <a:ext uri="{FF2B5EF4-FFF2-40B4-BE49-F238E27FC236}">
                <a16:creationId xmlns:a16="http://schemas.microsoft.com/office/drawing/2014/main" id="{C49E2F23-DAF4-68DD-B0E9-66156E8FA6BD}"/>
              </a:ext>
            </a:extLst>
          </p:cNvPr>
          <p:cNvPicPr>
            <a:picLocks noChangeAspect="1"/>
          </p:cNvPicPr>
          <p:nvPr/>
        </p:nvPicPr>
        <p:blipFill>
          <a:blip r:embed="rId3"/>
          <a:stretch>
            <a:fillRect/>
          </a:stretch>
        </p:blipFill>
        <p:spPr>
          <a:xfrm>
            <a:off x="665119" y="677280"/>
            <a:ext cx="10860175" cy="4902893"/>
          </a:xfrm>
          <a:prstGeom prst="rect">
            <a:avLst/>
          </a:prstGeom>
        </p:spPr>
      </p:pic>
    </p:spTree>
    <p:extLst>
      <p:ext uri="{BB962C8B-B14F-4D97-AF65-F5344CB8AC3E}">
        <p14:creationId xmlns:p14="http://schemas.microsoft.com/office/powerpoint/2010/main" val="3146444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2C7E0-565E-E3B4-5A8E-112DF0FB55FF}"/>
            </a:ext>
          </a:extLst>
        </p:cNvPr>
        <p:cNvGrpSpPr/>
        <p:nvPr/>
      </p:nvGrpSpPr>
      <p:grpSpPr>
        <a:xfrm>
          <a:off x="0" y="0"/>
          <a:ext cx="0" cy="0"/>
          <a:chOff x="0" y="0"/>
          <a:chExt cx="0" cy="0"/>
        </a:xfrm>
      </p:grpSpPr>
      <p:sp>
        <p:nvSpPr>
          <p:cNvPr id="3" name="Datumsplatzhalter 2">
            <a:extLst>
              <a:ext uri="{FF2B5EF4-FFF2-40B4-BE49-F238E27FC236}">
                <a16:creationId xmlns:a16="http://schemas.microsoft.com/office/drawing/2014/main" id="{8430B026-8129-7593-EAA9-E77E4B169DA7}"/>
              </a:ext>
            </a:extLst>
          </p:cNvPr>
          <p:cNvSpPr>
            <a:spLocks noGrp="1"/>
          </p:cNvSpPr>
          <p:nvPr>
            <p:ph type="dt" sz="half" idx="19"/>
          </p:nvPr>
        </p:nvSpPr>
        <p:spPr/>
        <p:txBody>
          <a:bodyPr/>
          <a:lstStyle/>
          <a:p>
            <a:fld id="{469FAAA5-EE5E-4762-B607-2A32CDA2AED9}" type="datetime1">
              <a:rPr lang="de-DE" noProof="0" smtClean="0"/>
              <a:t>15.01.2025</a:t>
            </a:fld>
            <a:endParaRPr lang="de-DE" noProof="0"/>
          </a:p>
        </p:txBody>
      </p:sp>
      <p:sp>
        <p:nvSpPr>
          <p:cNvPr id="4" name="Fußzeilenplatzhalter 3">
            <a:extLst>
              <a:ext uri="{FF2B5EF4-FFF2-40B4-BE49-F238E27FC236}">
                <a16:creationId xmlns:a16="http://schemas.microsoft.com/office/drawing/2014/main" id="{6622452F-57E9-241B-B684-66371A6340F4}"/>
              </a:ext>
            </a:extLst>
          </p:cNvPr>
          <p:cNvSpPr>
            <a:spLocks noGrp="1"/>
          </p:cNvSpPr>
          <p:nvPr>
            <p:ph type="ftr" sz="quarter" idx="20"/>
          </p:nvPr>
        </p:nvSpPr>
        <p:spPr/>
        <p:txBody>
          <a:bodyPr/>
          <a:lstStyle/>
          <a:p>
            <a:r>
              <a:rPr lang="de-DE" noProof="0"/>
              <a:t>FZI Forschungszentrum Informatik</a:t>
            </a:r>
          </a:p>
        </p:txBody>
      </p:sp>
      <p:sp>
        <p:nvSpPr>
          <p:cNvPr id="5" name="Foliennummernplatzhalter 4">
            <a:extLst>
              <a:ext uri="{FF2B5EF4-FFF2-40B4-BE49-F238E27FC236}">
                <a16:creationId xmlns:a16="http://schemas.microsoft.com/office/drawing/2014/main" id="{214AFF16-EE3E-5CCF-712D-A6BEA716E98D}"/>
              </a:ext>
            </a:extLst>
          </p:cNvPr>
          <p:cNvSpPr>
            <a:spLocks noGrp="1"/>
          </p:cNvSpPr>
          <p:nvPr>
            <p:ph type="sldNum" sz="quarter" idx="21"/>
          </p:nvPr>
        </p:nvSpPr>
        <p:spPr/>
        <p:txBody>
          <a:bodyPr/>
          <a:lstStyle/>
          <a:p>
            <a:fld id="{02CEFE82-39F2-4F47-8A0C-D5AB3496FA5C}" type="slidenum">
              <a:rPr lang="de-DE" noProof="0" smtClean="0"/>
              <a:t>28</a:t>
            </a:fld>
            <a:endParaRPr lang="de-DE" noProof="0"/>
          </a:p>
        </p:txBody>
      </p:sp>
      <p:pic>
        <p:nvPicPr>
          <p:cNvPr id="6" name="Grafik 5" descr="Ein Bild, das Diagramm, Screenshot, Reihe enthält.&#10;&#10;Automatisch generierte Beschreibung">
            <a:extLst>
              <a:ext uri="{FF2B5EF4-FFF2-40B4-BE49-F238E27FC236}">
                <a16:creationId xmlns:a16="http://schemas.microsoft.com/office/drawing/2014/main" id="{C345C037-B5F3-7118-8469-95A76C5A156B}"/>
              </a:ext>
            </a:extLst>
          </p:cNvPr>
          <p:cNvPicPr>
            <a:picLocks noChangeAspect="1"/>
          </p:cNvPicPr>
          <p:nvPr/>
        </p:nvPicPr>
        <p:blipFill>
          <a:blip r:embed="rId3"/>
          <a:stretch>
            <a:fillRect/>
          </a:stretch>
        </p:blipFill>
        <p:spPr>
          <a:xfrm>
            <a:off x="273932" y="704697"/>
            <a:ext cx="11642548" cy="5250929"/>
          </a:xfrm>
          <a:prstGeom prst="rect">
            <a:avLst/>
          </a:prstGeom>
        </p:spPr>
      </p:pic>
    </p:spTree>
    <p:extLst>
      <p:ext uri="{BB962C8B-B14F-4D97-AF65-F5344CB8AC3E}">
        <p14:creationId xmlns:p14="http://schemas.microsoft.com/office/powerpoint/2010/main" val="34365582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AD2DE65-2B47-D0EE-4CBE-FE4B02564006}"/>
              </a:ext>
            </a:extLst>
          </p:cNvPr>
          <p:cNvGraphicFramePr>
            <a:graphicFrameLocks noChangeAspect="1"/>
          </p:cNvGraphicFramePr>
          <p:nvPr>
            <p:custDataLst>
              <p:tags r:id="rId1"/>
            </p:custDataLst>
            <p:extLst>
              <p:ext uri="{D42A27DB-BD31-4B8C-83A1-F6EECF244321}">
                <p14:modId xmlns:p14="http://schemas.microsoft.com/office/powerpoint/2010/main" val="4245828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7" name="think-cell data - do not delete" hidden="1">
                        <a:extLst>
                          <a:ext uri="{FF2B5EF4-FFF2-40B4-BE49-F238E27FC236}">
                            <a16:creationId xmlns:a16="http://schemas.microsoft.com/office/drawing/2014/main" id="{EAD2DE65-2B47-D0EE-4CBE-FE4B025640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44A3FC2C-BA6F-3C1E-2F74-955ABF64FF59}"/>
              </a:ext>
            </a:extLst>
          </p:cNvPr>
          <p:cNvSpPr>
            <a:spLocks noGrp="1"/>
          </p:cNvSpPr>
          <p:nvPr>
            <p:ph type="dt" sz="half" idx="10"/>
          </p:nvPr>
        </p:nvSpPr>
        <p:spPr/>
        <p:txBody>
          <a:bodyPr/>
          <a:lstStyle/>
          <a:p>
            <a:fld id="{4680A733-F83D-4D19-AF27-7B0B870C8599}" type="datetime1">
              <a:rPr lang="de-DE" noProof="0" smtClean="0"/>
              <a:pPr/>
              <a:t>15.01.2025</a:t>
            </a:fld>
            <a:endParaRPr lang="de-DE" noProof="0"/>
          </a:p>
        </p:txBody>
      </p:sp>
      <p:sp>
        <p:nvSpPr>
          <p:cNvPr id="3" name="Fußzeilenplatzhalter 2">
            <a:extLst>
              <a:ext uri="{FF2B5EF4-FFF2-40B4-BE49-F238E27FC236}">
                <a16:creationId xmlns:a16="http://schemas.microsoft.com/office/drawing/2014/main" id="{D85250AD-B2FA-9609-BBA4-B3C84175835B}"/>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05EAAC79-2B7E-C840-A9EC-682F9B2EA139}"/>
              </a:ext>
            </a:extLst>
          </p:cNvPr>
          <p:cNvSpPr>
            <a:spLocks noGrp="1"/>
          </p:cNvSpPr>
          <p:nvPr>
            <p:ph type="sldNum" sz="quarter" idx="12"/>
          </p:nvPr>
        </p:nvSpPr>
        <p:spPr/>
        <p:txBody>
          <a:bodyPr/>
          <a:lstStyle/>
          <a:p>
            <a:fld id="{02CEFE82-39F2-4F47-8A0C-D5AB3496FA5C}" type="slidenum">
              <a:rPr lang="de-DE" noProof="0" smtClean="0"/>
              <a:pPr/>
              <a:t>3</a:t>
            </a:fld>
            <a:endParaRPr lang="de-DE" noProof="0"/>
          </a:p>
        </p:txBody>
      </p:sp>
      <p:sp>
        <p:nvSpPr>
          <p:cNvPr id="5" name="Titel 4">
            <a:extLst>
              <a:ext uri="{FF2B5EF4-FFF2-40B4-BE49-F238E27FC236}">
                <a16:creationId xmlns:a16="http://schemas.microsoft.com/office/drawing/2014/main" id="{FDDD1C85-6882-1073-AC5F-FF9D8B8F2205}"/>
              </a:ext>
            </a:extLst>
          </p:cNvPr>
          <p:cNvSpPr>
            <a:spLocks noGrp="1"/>
          </p:cNvSpPr>
          <p:nvPr>
            <p:ph type="title"/>
          </p:nvPr>
        </p:nvSpPr>
        <p:spPr/>
        <p:txBody>
          <a:bodyPr vert="horz"/>
          <a:lstStyle/>
          <a:p>
            <a:r>
              <a:rPr lang="de-DE"/>
              <a:t>Thema und Aufgabenstellen</a:t>
            </a:r>
          </a:p>
        </p:txBody>
      </p:sp>
      <p:sp>
        <p:nvSpPr>
          <p:cNvPr id="8" name="Textfeld 7">
            <a:extLst>
              <a:ext uri="{FF2B5EF4-FFF2-40B4-BE49-F238E27FC236}">
                <a16:creationId xmlns:a16="http://schemas.microsoft.com/office/drawing/2014/main" id="{758B5DCA-FFE8-7045-AD60-8CE53B6D519C}"/>
              </a:ext>
            </a:extLst>
          </p:cNvPr>
          <p:cNvSpPr txBox="1"/>
          <p:nvPr/>
        </p:nvSpPr>
        <p:spPr>
          <a:xfrm>
            <a:off x="539751" y="1579510"/>
            <a:ext cx="10835126" cy="2914673"/>
          </a:xfrm>
          <a:prstGeom prst="rect">
            <a:avLst/>
          </a:prstGeom>
          <a:solidFill>
            <a:schemeClr val="bg1"/>
          </a:solidFill>
        </p:spPr>
        <p:txBody>
          <a:bodyPr wrap="square" lIns="0" tIns="0" rIns="0" bIns="0" rtlCol="0" anchor="t">
            <a:noAutofit/>
          </a:bodyPr>
          <a:lstStyle/>
          <a:p>
            <a:pPr algn="l">
              <a:lnSpc>
                <a:spcPct val="110000"/>
              </a:lnSpc>
              <a:spcAft>
                <a:spcPts val="1000"/>
              </a:spcAft>
            </a:pPr>
            <a:r>
              <a:rPr lang="de-DE" b="1" dirty="0">
                <a:solidFill>
                  <a:srgbClr val="007749"/>
                </a:solidFill>
              </a:rPr>
              <a:t>     Thema: 		</a:t>
            </a:r>
            <a:r>
              <a:rPr lang="de-DE" b="1" dirty="0" err="1">
                <a:solidFill>
                  <a:schemeClr val="tx2">
                    <a:lumMod val="75000"/>
                  </a:schemeClr>
                </a:solidFill>
              </a:rPr>
              <a:t>Explainable</a:t>
            </a:r>
            <a:r>
              <a:rPr lang="de-DE" b="1" dirty="0">
                <a:solidFill>
                  <a:schemeClr val="tx2">
                    <a:lumMod val="75000"/>
                  </a:schemeClr>
                </a:solidFill>
              </a:rPr>
              <a:t> </a:t>
            </a:r>
            <a:r>
              <a:rPr lang="de-DE" b="1" dirty="0" err="1">
                <a:solidFill>
                  <a:schemeClr val="tx2">
                    <a:lumMod val="75000"/>
                  </a:schemeClr>
                </a:solidFill>
              </a:rPr>
              <a:t>Machine</a:t>
            </a:r>
            <a:r>
              <a:rPr lang="de-DE" b="1" dirty="0">
                <a:solidFill>
                  <a:schemeClr val="tx2">
                    <a:lumMod val="75000"/>
                  </a:schemeClr>
                </a:solidFill>
              </a:rPr>
              <a:t> Learning </a:t>
            </a:r>
            <a:r>
              <a:rPr lang="de-DE" b="1" dirty="0" err="1">
                <a:solidFill>
                  <a:schemeClr val="tx2">
                    <a:lumMod val="75000"/>
                  </a:schemeClr>
                </a:solidFill>
              </a:rPr>
              <a:t>for</a:t>
            </a:r>
            <a:r>
              <a:rPr lang="de-DE" b="1" dirty="0">
                <a:solidFill>
                  <a:schemeClr val="tx2">
                    <a:lumMod val="75000"/>
                  </a:schemeClr>
                </a:solidFill>
              </a:rPr>
              <a:t> Time Series</a:t>
            </a:r>
          </a:p>
          <a:p>
            <a:pPr algn="l">
              <a:lnSpc>
                <a:spcPct val="110000"/>
              </a:lnSpc>
              <a:spcAft>
                <a:spcPts val="1000"/>
              </a:spcAft>
            </a:pPr>
            <a:endParaRPr lang="de-DE" b="1">
              <a:solidFill>
                <a:schemeClr val="tx2">
                  <a:lumMod val="75000"/>
                </a:schemeClr>
              </a:solidFill>
            </a:endParaRPr>
          </a:p>
          <a:p>
            <a:pPr>
              <a:lnSpc>
                <a:spcPct val="110000"/>
              </a:lnSpc>
              <a:spcAft>
                <a:spcPts val="1000"/>
              </a:spcAft>
            </a:pPr>
            <a:r>
              <a:rPr lang="de-DE" b="1" dirty="0">
                <a:solidFill>
                  <a:srgbClr val="007749"/>
                </a:solidFill>
              </a:rPr>
              <a:t>      Hintergrund: 	</a:t>
            </a:r>
            <a:r>
              <a:rPr lang="de-DE" dirty="0">
                <a:solidFill>
                  <a:schemeClr val="tx2">
                    <a:lumMod val="75000"/>
                  </a:schemeClr>
                </a:solidFill>
              </a:rPr>
              <a:t>Fehlende Transparenz sowie Vertrauen in </a:t>
            </a:r>
            <a:r>
              <a:rPr lang="de-DE" dirty="0" err="1">
                <a:solidFill>
                  <a:schemeClr val="tx2">
                    <a:lumMod val="75000"/>
                  </a:schemeClr>
                </a:solidFill>
              </a:rPr>
              <a:t>Machine</a:t>
            </a:r>
            <a:r>
              <a:rPr lang="de-DE" dirty="0">
                <a:solidFill>
                  <a:schemeClr val="tx2">
                    <a:lumMod val="75000"/>
                  </a:schemeClr>
                </a:solidFill>
              </a:rPr>
              <a:t> Learning Modelle bei</a:t>
            </a:r>
            <a:br>
              <a:rPr lang="de-DE" dirty="0"/>
            </a:br>
            <a:r>
              <a:rPr lang="de-DE" dirty="0">
                <a:solidFill>
                  <a:schemeClr val="tx2">
                    <a:lumMod val="75000"/>
                  </a:schemeClr>
                </a:solidFill>
              </a:rPr>
              <a:t> 			     kritischen Anwendungsfällen (Bsp. Medizin)</a:t>
            </a:r>
            <a:endParaRPr lang="de-DE" dirty="0">
              <a:solidFill>
                <a:schemeClr val="tx2">
                  <a:lumMod val="75000"/>
                </a:schemeClr>
              </a:solidFill>
              <a:cs typeface="Arial"/>
            </a:endParaRPr>
          </a:p>
          <a:p>
            <a:pPr marL="3486150" lvl="7" indent="-285750">
              <a:lnSpc>
                <a:spcPct val="110000"/>
              </a:lnSpc>
              <a:spcAft>
                <a:spcPts val="1000"/>
              </a:spcAft>
              <a:buFont typeface="Wingdings" panose="05000000000000000000" pitchFamily="2" charset="2"/>
              <a:buChar char="à"/>
            </a:pPr>
            <a:r>
              <a:rPr lang="de-DE" sz="1600" dirty="0">
                <a:solidFill>
                  <a:schemeClr val="tx2">
                    <a:lumMod val="75000"/>
                  </a:schemeClr>
                </a:solidFill>
              </a:rPr>
              <a:t>Darunter fallen auch Modelle zur Zeitreihenvorhersage</a:t>
            </a:r>
            <a:endParaRPr lang="de-DE" sz="1600" dirty="0">
              <a:solidFill>
                <a:schemeClr val="tx2">
                  <a:lumMod val="75000"/>
                </a:schemeClr>
              </a:solidFill>
              <a:cs typeface="Arial"/>
            </a:endParaRPr>
          </a:p>
          <a:p>
            <a:pPr marL="3486150" lvl="7" indent="-285750">
              <a:lnSpc>
                <a:spcPct val="110000"/>
              </a:lnSpc>
              <a:spcAft>
                <a:spcPts val="1000"/>
              </a:spcAft>
              <a:buFont typeface="Wingdings" panose="05000000000000000000" pitchFamily="2" charset="2"/>
              <a:buChar char="à"/>
            </a:pPr>
            <a:r>
              <a:rPr lang="de-DE" sz="1600" dirty="0">
                <a:solidFill>
                  <a:schemeClr val="tx2">
                    <a:lumMod val="75000"/>
                  </a:schemeClr>
                </a:solidFill>
              </a:rPr>
              <a:t>Problematisch sind </a:t>
            </a:r>
            <a:r>
              <a:rPr lang="de-DE" sz="1600" dirty="0"/>
              <a:t>Modelle, die nicht nachvollziehbar erklären können, </a:t>
            </a:r>
            <a:r>
              <a:rPr lang="de-DE" sz="1600" i="1" dirty="0"/>
              <a:t>wie </a:t>
            </a:r>
            <a:r>
              <a:rPr lang="de-DE" sz="1600" dirty="0"/>
              <a:t>und</a:t>
            </a:r>
            <a:r>
              <a:rPr lang="de-DE" sz="1600" i="1" dirty="0"/>
              <a:t> warum</a:t>
            </a:r>
            <a:r>
              <a:rPr lang="de-DE" sz="1600" dirty="0"/>
              <a:t> sie eine Entscheidung getroffen haben</a:t>
            </a:r>
            <a:endParaRPr lang="de-DE" sz="1600" dirty="0">
              <a:cs typeface="Arial"/>
            </a:endParaRPr>
          </a:p>
          <a:p>
            <a:pPr marL="3486150" lvl="7" indent="-285750">
              <a:lnSpc>
                <a:spcPct val="110000"/>
              </a:lnSpc>
              <a:spcAft>
                <a:spcPts val="1000"/>
              </a:spcAft>
              <a:buFont typeface="Wingdings" panose="05000000000000000000" pitchFamily="2" charset="2"/>
              <a:buChar char="à"/>
            </a:pPr>
            <a:r>
              <a:rPr lang="de-DE" sz="1600" dirty="0"/>
              <a:t>Verbesserte Nachvollziehbarkeit in der Entscheidungsfindung von Modellen soll Vertrauen steigern</a:t>
            </a:r>
            <a:endParaRPr lang="de-DE" sz="1600" dirty="0">
              <a:cs typeface="Arial"/>
            </a:endParaRPr>
          </a:p>
          <a:p>
            <a:pPr>
              <a:lnSpc>
                <a:spcPct val="110000"/>
              </a:lnSpc>
              <a:spcAft>
                <a:spcPts val="1000"/>
              </a:spcAft>
            </a:pPr>
            <a:endParaRPr lang="de-DE">
              <a:solidFill>
                <a:schemeClr val="tx2">
                  <a:lumMod val="75000"/>
                </a:schemeClr>
              </a:solidFill>
            </a:endParaRPr>
          </a:p>
          <a:p>
            <a:pPr algn="l">
              <a:lnSpc>
                <a:spcPct val="110000"/>
              </a:lnSpc>
              <a:spcAft>
                <a:spcPts val="1000"/>
              </a:spcAft>
            </a:pPr>
            <a:r>
              <a:rPr lang="de-DE" b="1" dirty="0">
                <a:solidFill>
                  <a:srgbClr val="007749"/>
                </a:solidFill>
              </a:rPr>
              <a:t>      Aufgabenstellung:	</a:t>
            </a:r>
            <a:r>
              <a:rPr lang="de-DE" dirty="0">
                <a:solidFill>
                  <a:schemeClr val="tx2">
                    <a:lumMod val="75000"/>
                  </a:schemeClr>
                </a:solidFill>
              </a:rPr>
              <a:t>Neuen Ansatz für die Erklärbarkeit von Zeitreihenvorhersagen entwickeln und</a:t>
            </a:r>
            <a:br>
              <a:rPr lang="de-DE" dirty="0"/>
            </a:br>
            <a:r>
              <a:rPr lang="de-DE" dirty="0">
                <a:solidFill>
                  <a:schemeClr val="tx2">
                    <a:lumMod val="75000"/>
                  </a:schemeClr>
                </a:solidFill>
              </a:rPr>
              <a:t> 		  	implementieren</a:t>
            </a:r>
            <a:endParaRPr lang="de-DE" dirty="0">
              <a:solidFill>
                <a:schemeClr val="tx2">
                  <a:lumMod val="75000"/>
                </a:schemeClr>
              </a:solidFill>
              <a:cs typeface="Arial"/>
            </a:endParaRPr>
          </a:p>
          <a:p>
            <a:pPr algn="l">
              <a:lnSpc>
                <a:spcPct val="110000"/>
              </a:lnSpc>
              <a:spcAft>
                <a:spcPts val="1000"/>
              </a:spcAft>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a:p>
            <a:pPr lvl="1">
              <a:lnSpc>
                <a:spcPct val="110000"/>
              </a:lnSpc>
              <a:spcAft>
                <a:spcPts val="1000"/>
              </a:spcAft>
            </a:pPr>
            <a:endParaRPr lang="de-DE" sz="1400">
              <a:solidFill>
                <a:schemeClr val="tx2">
                  <a:lumMod val="75000"/>
                </a:schemeClr>
              </a:solidFill>
              <a:sym typeface="Wingdings" panose="05000000000000000000" pitchFamily="2" charset="2"/>
            </a:endParaRPr>
          </a:p>
          <a:p>
            <a:pPr marL="285750"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p:txBody>
      </p:sp>
    </p:spTree>
    <p:extLst>
      <p:ext uri="{BB962C8B-B14F-4D97-AF65-F5344CB8AC3E}">
        <p14:creationId xmlns:p14="http://schemas.microsoft.com/office/powerpoint/2010/main" val="41413115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89263A-31C5-5013-E26F-D798A67E52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C0B6339-9613-321E-4954-6D1BA4AA26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6" name="think-cell data - do not delete" hidden="1">
                        <a:extLst>
                          <a:ext uri="{FF2B5EF4-FFF2-40B4-BE49-F238E27FC236}">
                            <a16:creationId xmlns:a16="http://schemas.microsoft.com/office/drawing/2014/main" id="{1C0B6339-9613-321E-4954-6D1BA4AA26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 name="Rechteckiger Pfeil 102">
            <a:extLst>
              <a:ext uri="{FF2B5EF4-FFF2-40B4-BE49-F238E27FC236}">
                <a16:creationId xmlns:a16="http://schemas.microsoft.com/office/drawing/2014/main" id="{3422DAD2-A810-E8E5-8E35-1FE35DA12BDE}"/>
              </a:ext>
            </a:extLst>
          </p:cNvPr>
          <p:cNvSpPr/>
          <p:nvPr/>
        </p:nvSpPr>
        <p:spPr>
          <a:xfrm>
            <a:off x="7414637" y="3290152"/>
            <a:ext cx="786750" cy="1006136"/>
          </a:xfrm>
          <a:prstGeom prst="bentArrow">
            <a:avLst>
              <a:gd name="adj1" fmla="val 10825"/>
              <a:gd name="adj2" fmla="val 13627"/>
              <a:gd name="adj3" fmla="val 23736"/>
              <a:gd name="adj4" fmla="val 39959"/>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sp>
        <p:nvSpPr>
          <p:cNvPr id="105" name="Rechteckiger Pfeil 104">
            <a:extLst>
              <a:ext uri="{FF2B5EF4-FFF2-40B4-BE49-F238E27FC236}">
                <a16:creationId xmlns:a16="http://schemas.microsoft.com/office/drawing/2014/main" id="{00B7CA55-CCC7-E3EB-A3A4-D72C3031EEBE}"/>
              </a:ext>
            </a:extLst>
          </p:cNvPr>
          <p:cNvSpPr/>
          <p:nvPr/>
        </p:nvSpPr>
        <p:spPr>
          <a:xfrm flipV="1">
            <a:off x="7390400" y="2173786"/>
            <a:ext cx="810988" cy="930733"/>
          </a:xfrm>
          <a:prstGeom prst="bentArrow">
            <a:avLst>
              <a:gd name="adj1" fmla="val 10825"/>
              <a:gd name="adj2" fmla="val 13627"/>
              <a:gd name="adj3" fmla="val 23736"/>
              <a:gd name="adj4" fmla="val 39959"/>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sp>
        <p:nvSpPr>
          <p:cNvPr id="106" name="Rechteckiger Pfeil 105">
            <a:extLst>
              <a:ext uri="{FF2B5EF4-FFF2-40B4-BE49-F238E27FC236}">
                <a16:creationId xmlns:a16="http://schemas.microsoft.com/office/drawing/2014/main" id="{7117D2E2-A0D8-699F-CB00-65B8F84137C4}"/>
              </a:ext>
            </a:extLst>
          </p:cNvPr>
          <p:cNvSpPr/>
          <p:nvPr/>
        </p:nvSpPr>
        <p:spPr>
          <a:xfrm flipV="1">
            <a:off x="4004471" y="3645714"/>
            <a:ext cx="2575298" cy="1356233"/>
          </a:xfrm>
          <a:prstGeom prst="bentArrow">
            <a:avLst>
              <a:gd name="adj1" fmla="val 7640"/>
              <a:gd name="adj2" fmla="val 7861"/>
              <a:gd name="adj3" fmla="val 14546"/>
              <a:gd name="adj4" fmla="val 39959"/>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sp>
        <p:nvSpPr>
          <p:cNvPr id="107" name="Rechteckiger Pfeil 106">
            <a:extLst>
              <a:ext uri="{FF2B5EF4-FFF2-40B4-BE49-F238E27FC236}">
                <a16:creationId xmlns:a16="http://schemas.microsoft.com/office/drawing/2014/main" id="{49EF6C5C-5E05-5293-51BD-9A8FE7881654}"/>
              </a:ext>
            </a:extLst>
          </p:cNvPr>
          <p:cNvSpPr/>
          <p:nvPr/>
        </p:nvSpPr>
        <p:spPr>
          <a:xfrm>
            <a:off x="5577545" y="1809021"/>
            <a:ext cx="1026105" cy="1017495"/>
          </a:xfrm>
          <a:prstGeom prst="bentArrow">
            <a:avLst>
              <a:gd name="adj1" fmla="val 8436"/>
              <a:gd name="adj2" fmla="val 10044"/>
              <a:gd name="adj3" fmla="val 12115"/>
              <a:gd name="adj4" fmla="val 39959"/>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sp>
        <p:nvSpPr>
          <p:cNvPr id="111" name="Pfeil nach rechts 110">
            <a:extLst>
              <a:ext uri="{FF2B5EF4-FFF2-40B4-BE49-F238E27FC236}">
                <a16:creationId xmlns:a16="http://schemas.microsoft.com/office/drawing/2014/main" id="{36F12763-2776-F074-DA48-42523D4E4A34}"/>
              </a:ext>
            </a:extLst>
          </p:cNvPr>
          <p:cNvSpPr/>
          <p:nvPr/>
        </p:nvSpPr>
        <p:spPr>
          <a:xfrm>
            <a:off x="4132023" y="3179704"/>
            <a:ext cx="890231" cy="249296"/>
          </a:xfrm>
          <a:prstGeom prst="rightArrow">
            <a:avLst>
              <a:gd name="adj1" fmla="val 50000"/>
              <a:gd name="adj2" fmla="val 72276"/>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7" name="Abgerundetes Rechteck 16">
            <a:extLst>
              <a:ext uri="{FF2B5EF4-FFF2-40B4-BE49-F238E27FC236}">
                <a16:creationId xmlns:a16="http://schemas.microsoft.com/office/drawing/2014/main" id="{CCBA9E7D-C2D6-0B44-C4DC-1441D2413A89}"/>
              </a:ext>
            </a:extLst>
          </p:cNvPr>
          <p:cNvSpPr/>
          <p:nvPr/>
        </p:nvSpPr>
        <p:spPr>
          <a:xfrm>
            <a:off x="5025849" y="2754898"/>
            <a:ext cx="2723410" cy="973068"/>
          </a:xfrm>
          <a:prstGeom prst="roundRect">
            <a:avLst/>
          </a:prstGeom>
          <a:solidFill>
            <a:schemeClr val="accent3">
              <a:lumMod val="20000"/>
              <a:lumOff val="80000"/>
            </a:schemeClr>
          </a:solid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8" name="Textfeld 17">
            <a:extLst>
              <a:ext uri="{FF2B5EF4-FFF2-40B4-BE49-F238E27FC236}">
                <a16:creationId xmlns:a16="http://schemas.microsoft.com/office/drawing/2014/main" id="{DE05E448-F0E7-DD88-C6B3-E7F7F6D217F8}"/>
              </a:ext>
            </a:extLst>
          </p:cNvPr>
          <p:cNvSpPr txBox="1"/>
          <p:nvPr/>
        </p:nvSpPr>
        <p:spPr>
          <a:xfrm>
            <a:off x="5097594" y="2819027"/>
            <a:ext cx="1568058" cy="253916"/>
          </a:xfrm>
          <a:prstGeom prst="rect">
            <a:avLst/>
          </a:prstGeom>
          <a:noFill/>
        </p:spPr>
        <p:txBody>
          <a:bodyPr wrap="none" rtlCol="0">
            <a:spAutoFit/>
          </a:bodyPr>
          <a:lstStyle/>
          <a:p>
            <a:r>
              <a:rPr lang="de-DE" sz="1050" b="1"/>
              <a:t>Klassifikationsmodell</a:t>
            </a:r>
          </a:p>
        </p:txBody>
      </p:sp>
      <p:sp>
        <p:nvSpPr>
          <p:cNvPr id="19" name="Rechteck 18">
            <a:extLst>
              <a:ext uri="{FF2B5EF4-FFF2-40B4-BE49-F238E27FC236}">
                <a16:creationId xmlns:a16="http://schemas.microsoft.com/office/drawing/2014/main" id="{EED4BBDE-2C06-F729-0D0F-54BF6B46597B}"/>
              </a:ext>
            </a:extLst>
          </p:cNvPr>
          <p:cNvSpPr/>
          <p:nvPr/>
        </p:nvSpPr>
        <p:spPr>
          <a:xfrm>
            <a:off x="5167876" y="3064078"/>
            <a:ext cx="684744" cy="177354"/>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LSTM</a:t>
            </a:r>
          </a:p>
        </p:txBody>
      </p:sp>
      <p:sp>
        <p:nvSpPr>
          <p:cNvPr id="20" name="Rechteck 19">
            <a:extLst>
              <a:ext uri="{FF2B5EF4-FFF2-40B4-BE49-F238E27FC236}">
                <a16:creationId xmlns:a16="http://schemas.microsoft.com/office/drawing/2014/main" id="{DBE0D60D-04CE-5A64-9DB4-28505AE42B20}"/>
              </a:ext>
            </a:extLst>
          </p:cNvPr>
          <p:cNvSpPr/>
          <p:nvPr/>
        </p:nvSpPr>
        <p:spPr>
          <a:xfrm>
            <a:off x="6054324" y="3064078"/>
            <a:ext cx="684744" cy="177354"/>
          </a:xfrm>
          <a:prstGeom prst="rect">
            <a:avLst/>
          </a:prstGeom>
          <a:solidFill>
            <a:srgbClr val="807F8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CNN</a:t>
            </a:r>
          </a:p>
        </p:txBody>
      </p:sp>
      <p:sp>
        <p:nvSpPr>
          <p:cNvPr id="21" name="Rechteck 20">
            <a:extLst>
              <a:ext uri="{FF2B5EF4-FFF2-40B4-BE49-F238E27FC236}">
                <a16:creationId xmlns:a16="http://schemas.microsoft.com/office/drawing/2014/main" id="{74896128-A75B-8042-1CC1-CF7F43252FAF}"/>
              </a:ext>
            </a:extLst>
          </p:cNvPr>
          <p:cNvSpPr/>
          <p:nvPr/>
        </p:nvSpPr>
        <p:spPr>
          <a:xfrm>
            <a:off x="6940771" y="3064078"/>
            <a:ext cx="684744" cy="177354"/>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MLP</a:t>
            </a:r>
          </a:p>
        </p:txBody>
      </p:sp>
      <p:sp>
        <p:nvSpPr>
          <p:cNvPr id="23" name="Textfeld 22">
            <a:extLst>
              <a:ext uri="{FF2B5EF4-FFF2-40B4-BE49-F238E27FC236}">
                <a16:creationId xmlns:a16="http://schemas.microsoft.com/office/drawing/2014/main" id="{CC41DBBC-1991-F458-7EE5-EEE3301ED424}"/>
              </a:ext>
            </a:extLst>
          </p:cNvPr>
          <p:cNvSpPr txBox="1"/>
          <p:nvPr/>
        </p:nvSpPr>
        <p:spPr>
          <a:xfrm>
            <a:off x="5342234" y="3316665"/>
            <a:ext cx="2090637" cy="400110"/>
          </a:xfrm>
          <a:prstGeom prst="rect">
            <a:avLst/>
          </a:prstGeom>
          <a:noFill/>
        </p:spPr>
        <p:txBody>
          <a:bodyPr wrap="none" rtlCol="0">
            <a:spAutoFit/>
          </a:bodyPr>
          <a:lstStyle/>
          <a:p>
            <a:pPr algn="ctr"/>
            <a:r>
              <a:rPr lang="de-DE" sz="1000" i="1"/>
              <a:t>Liefert als Black-Box-Modell </a:t>
            </a:r>
          </a:p>
          <a:p>
            <a:pPr algn="ctr"/>
            <a:r>
              <a:rPr lang="de-DE" sz="1000" i="1"/>
              <a:t>Klassifikation von Zeitreihendaten</a:t>
            </a:r>
          </a:p>
        </p:txBody>
      </p:sp>
      <p:sp>
        <p:nvSpPr>
          <p:cNvPr id="26" name="Abgerundetes Rechteck 25">
            <a:extLst>
              <a:ext uri="{FF2B5EF4-FFF2-40B4-BE49-F238E27FC236}">
                <a16:creationId xmlns:a16="http://schemas.microsoft.com/office/drawing/2014/main" id="{17804A8A-9BAA-883F-F084-EBC11B2BC254}"/>
              </a:ext>
            </a:extLst>
          </p:cNvPr>
          <p:cNvSpPr/>
          <p:nvPr/>
        </p:nvSpPr>
        <p:spPr>
          <a:xfrm>
            <a:off x="1540867" y="2754897"/>
            <a:ext cx="2723410" cy="973068"/>
          </a:xfrm>
          <a:prstGeom prst="roundRect">
            <a:avLst/>
          </a:prstGeom>
          <a:solidFill>
            <a:schemeClr val="accent3">
              <a:lumMod val="20000"/>
              <a:lumOff val="80000"/>
            </a:schemeClr>
          </a:solid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27" name="Textfeld 26">
            <a:extLst>
              <a:ext uri="{FF2B5EF4-FFF2-40B4-BE49-F238E27FC236}">
                <a16:creationId xmlns:a16="http://schemas.microsoft.com/office/drawing/2014/main" id="{42CDF0DD-8553-F930-BE04-3049DDAFC6EC}"/>
              </a:ext>
            </a:extLst>
          </p:cNvPr>
          <p:cNvSpPr txBox="1"/>
          <p:nvPr/>
        </p:nvSpPr>
        <p:spPr>
          <a:xfrm>
            <a:off x="1612612" y="2819026"/>
            <a:ext cx="870751" cy="253916"/>
          </a:xfrm>
          <a:prstGeom prst="rect">
            <a:avLst/>
          </a:prstGeom>
          <a:noFill/>
        </p:spPr>
        <p:txBody>
          <a:bodyPr wrap="none" rtlCol="0">
            <a:spAutoFit/>
          </a:bodyPr>
          <a:lstStyle/>
          <a:p>
            <a:r>
              <a:rPr lang="de-DE" sz="1050" b="1"/>
              <a:t>Inputdaten</a:t>
            </a:r>
          </a:p>
        </p:txBody>
      </p:sp>
      <p:sp>
        <p:nvSpPr>
          <p:cNvPr id="28" name="Rechteck 27">
            <a:extLst>
              <a:ext uri="{FF2B5EF4-FFF2-40B4-BE49-F238E27FC236}">
                <a16:creationId xmlns:a16="http://schemas.microsoft.com/office/drawing/2014/main" id="{4590E05D-5663-E3CA-FE3C-1E11A43B4759}"/>
              </a:ext>
            </a:extLst>
          </p:cNvPr>
          <p:cNvSpPr/>
          <p:nvPr/>
        </p:nvSpPr>
        <p:spPr>
          <a:xfrm>
            <a:off x="1879839" y="3064077"/>
            <a:ext cx="950306" cy="17735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err="1"/>
              <a:t>Gun</a:t>
            </a:r>
            <a:r>
              <a:rPr lang="de-DE" sz="1050"/>
              <a:t>-Point</a:t>
            </a:r>
          </a:p>
        </p:txBody>
      </p:sp>
      <p:sp>
        <p:nvSpPr>
          <p:cNvPr id="29" name="Rechteck 28">
            <a:extLst>
              <a:ext uri="{FF2B5EF4-FFF2-40B4-BE49-F238E27FC236}">
                <a16:creationId xmlns:a16="http://schemas.microsoft.com/office/drawing/2014/main" id="{84BE75EB-4369-84E2-699F-17D41A0AF7BC}"/>
              </a:ext>
            </a:extLst>
          </p:cNvPr>
          <p:cNvSpPr/>
          <p:nvPr/>
        </p:nvSpPr>
        <p:spPr>
          <a:xfrm>
            <a:off x="3031003" y="3064077"/>
            <a:ext cx="950306" cy="177354"/>
          </a:xfrm>
          <a:prstGeom prst="rect">
            <a:avLst/>
          </a:prstGeom>
          <a:solidFill>
            <a:srgbClr val="807F8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Coffee</a:t>
            </a:r>
          </a:p>
        </p:txBody>
      </p:sp>
      <p:sp>
        <p:nvSpPr>
          <p:cNvPr id="31" name="Textfeld 30">
            <a:extLst>
              <a:ext uri="{FF2B5EF4-FFF2-40B4-BE49-F238E27FC236}">
                <a16:creationId xmlns:a16="http://schemas.microsoft.com/office/drawing/2014/main" id="{4FE47C69-0112-E2A2-E3E2-B899CC34BD7E}"/>
              </a:ext>
            </a:extLst>
          </p:cNvPr>
          <p:cNvSpPr txBox="1"/>
          <p:nvPr/>
        </p:nvSpPr>
        <p:spPr>
          <a:xfrm>
            <a:off x="1680922" y="3316664"/>
            <a:ext cx="2443298" cy="400110"/>
          </a:xfrm>
          <a:prstGeom prst="rect">
            <a:avLst/>
          </a:prstGeom>
          <a:noFill/>
        </p:spPr>
        <p:txBody>
          <a:bodyPr wrap="none" rtlCol="0">
            <a:spAutoFit/>
          </a:bodyPr>
          <a:lstStyle/>
          <a:p>
            <a:pPr algn="ctr"/>
            <a:r>
              <a:rPr lang="de-DE" sz="1000" i="1"/>
              <a:t>Bestehen aus Zeitreihen, die </a:t>
            </a:r>
          </a:p>
          <a:p>
            <a:pPr algn="ctr"/>
            <a:r>
              <a:rPr lang="de-DE" sz="1000" i="1"/>
              <a:t>verschiedenen Klassen zugeordnet sind</a:t>
            </a:r>
          </a:p>
        </p:txBody>
      </p:sp>
      <p:sp>
        <p:nvSpPr>
          <p:cNvPr id="33" name="Abgerundetes Rechteck 32">
            <a:extLst>
              <a:ext uri="{FF2B5EF4-FFF2-40B4-BE49-F238E27FC236}">
                <a16:creationId xmlns:a16="http://schemas.microsoft.com/office/drawing/2014/main" id="{297E0BCE-0AF6-98BF-4C25-614C0F0AEB43}"/>
              </a:ext>
            </a:extLst>
          </p:cNvPr>
          <p:cNvSpPr/>
          <p:nvPr/>
        </p:nvSpPr>
        <p:spPr>
          <a:xfrm>
            <a:off x="1543780" y="4228173"/>
            <a:ext cx="2720496" cy="1069155"/>
          </a:xfrm>
          <a:prstGeom prst="roundRect">
            <a:avLst/>
          </a:prstGeom>
          <a:solidFill>
            <a:schemeClr val="accent3">
              <a:lumMod val="20000"/>
              <a:lumOff val="80000"/>
            </a:schemeClr>
          </a:solid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34" name="Textfeld 33">
            <a:extLst>
              <a:ext uri="{FF2B5EF4-FFF2-40B4-BE49-F238E27FC236}">
                <a16:creationId xmlns:a16="http://schemas.microsoft.com/office/drawing/2014/main" id="{13379C8D-6963-95AA-5227-8B13650115BE}"/>
              </a:ext>
            </a:extLst>
          </p:cNvPr>
          <p:cNvSpPr txBox="1"/>
          <p:nvPr/>
        </p:nvSpPr>
        <p:spPr>
          <a:xfrm>
            <a:off x="1615449" y="4286999"/>
            <a:ext cx="1327608" cy="261610"/>
          </a:xfrm>
          <a:prstGeom prst="rect">
            <a:avLst/>
          </a:prstGeom>
          <a:noFill/>
        </p:spPr>
        <p:txBody>
          <a:bodyPr wrap="none" rtlCol="0">
            <a:spAutoFit/>
          </a:bodyPr>
          <a:lstStyle/>
          <a:p>
            <a:r>
              <a:rPr lang="de-DE" sz="1050" b="1"/>
              <a:t>Pattern Extractor</a:t>
            </a:r>
          </a:p>
        </p:txBody>
      </p:sp>
      <p:sp>
        <p:nvSpPr>
          <p:cNvPr id="35" name="Rechteck 34">
            <a:extLst>
              <a:ext uri="{FF2B5EF4-FFF2-40B4-BE49-F238E27FC236}">
                <a16:creationId xmlns:a16="http://schemas.microsoft.com/office/drawing/2014/main" id="{9F85086E-A838-ACFC-FA02-0E58B5AC9C8B}"/>
              </a:ext>
            </a:extLst>
          </p:cNvPr>
          <p:cNvSpPr/>
          <p:nvPr/>
        </p:nvSpPr>
        <p:spPr>
          <a:xfrm>
            <a:off x="1672492" y="4511786"/>
            <a:ext cx="1159187" cy="328825"/>
          </a:xfrm>
          <a:prstGeom prst="rect">
            <a:avLst/>
          </a:prstGeom>
          <a:solidFill>
            <a:srgbClr val="807F8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Learning-</a:t>
            </a:r>
            <a:r>
              <a:rPr lang="de-DE" sz="1050" err="1"/>
              <a:t>Shapelets</a:t>
            </a:r>
            <a:endParaRPr lang="de-DE" sz="1050"/>
          </a:p>
        </p:txBody>
      </p:sp>
      <p:sp>
        <p:nvSpPr>
          <p:cNvPr id="36" name="Rechteck 35">
            <a:extLst>
              <a:ext uri="{FF2B5EF4-FFF2-40B4-BE49-F238E27FC236}">
                <a16:creationId xmlns:a16="http://schemas.microsoft.com/office/drawing/2014/main" id="{02555433-ED4F-6E6B-4689-26A618E587B7}"/>
              </a:ext>
            </a:extLst>
          </p:cNvPr>
          <p:cNvSpPr/>
          <p:nvPr/>
        </p:nvSpPr>
        <p:spPr>
          <a:xfrm>
            <a:off x="3032322" y="4511786"/>
            <a:ext cx="949290" cy="32882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err="1"/>
              <a:t>Shapelet</a:t>
            </a:r>
            <a:r>
              <a:rPr lang="de-DE" sz="1050"/>
              <a:t>-Transform</a:t>
            </a:r>
          </a:p>
        </p:txBody>
      </p:sp>
      <p:sp>
        <p:nvSpPr>
          <p:cNvPr id="37" name="Textfeld 36">
            <a:extLst>
              <a:ext uri="{FF2B5EF4-FFF2-40B4-BE49-F238E27FC236}">
                <a16:creationId xmlns:a16="http://schemas.microsoft.com/office/drawing/2014/main" id="{639C9D50-32CB-0579-15AC-EFC8FC7EC068}"/>
              </a:ext>
            </a:extLst>
          </p:cNvPr>
          <p:cNvSpPr txBox="1"/>
          <p:nvPr/>
        </p:nvSpPr>
        <p:spPr>
          <a:xfrm>
            <a:off x="1553336" y="4906821"/>
            <a:ext cx="2701380" cy="400110"/>
          </a:xfrm>
          <a:prstGeom prst="rect">
            <a:avLst/>
          </a:prstGeom>
          <a:noFill/>
        </p:spPr>
        <p:txBody>
          <a:bodyPr wrap="none" rtlCol="0">
            <a:spAutoFit/>
          </a:bodyPr>
          <a:lstStyle/>
          <a:p>
            <a:pPr algn="ctr"/>
            <a:r>
              <a:rPr lang="de-DE" sz="1000" i="1"/>
              <a:t>Finden Muster (</a:t>
            </a:r>
            <a:r>
              <a:rPr lang="de-DE" sz="1000" i="1" err="1"/>
              <a:t>Shapelets</a:t>
            </a:r>
            <a:r>
              <a:rPr lang="de-DE" sz="1000" i="1"/>
              <a:t>), die repräsentativ</a:t>
            </a:r>
          </a:p>
          <a:p>
            <a:pPr algn="ctr"/>
            <a:r>
              <a:rPr lang="de-DE" sz="1000" i="1"/>
              <a:t>für eine bestimmte Klasse sein können</a:t>
            </a:r>
          </a:p>
        </p:txBody>
      </p:sp>
      <p:sp>
        <p:nvSpPr>
          <p:cNvPr id="40" name="Abgerundetes Rechteck 39">
            <a:extLst>
              <a:ext uri="{FF2B5EF4-FFF2-40B4-BE49-F238E27FC236}">
                <a16:creationId xmlns:a16="http://schemas.microsoft.com/office/drawing/2014/main" id="{358B3EA8-DF90-40D5-0873-4B4EAFEC5964}"/>
              </a:ext>
            </a:extLst>
          </p:cNvPr>
          <p:cNvSpPr/>
          <p:nvPr/>
        </p:nvSpPr>
        <p:spPr>
          <a:xfrm>
            <a:off x="3080640" y="1033770"/>
            <a:ext cx="2723410" cy="1394805"/>
          </a:xfrm>
          <a:prstGeom prst="roundRect">
            <a:avLst/>
          </a:prstGeom>
          <a:solidFill>
            <a:schemeClr val="accent3">
              <a:lumMod val="20000"/>
              <a:lumOff val="80000"/>
            </a:schemeClr>
          </a:solid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de-DE" sz="1200"/>
          </a:p>
        </p:txBody>
      </p:sp>
      <p:sp>
        <p:nvSpPr>
          <p:cNvPr id="41" name="Textfeld 40">
            <a:extLst>
              <a:ext uri="{FF2B5EF4-FFF2-40B4-BE49-F238E27FC236}">
                <a16:creationId xmlns:a16="http://schemas.microsoft.com/office/drawing/2014/main" id="{35AA2616-11A7-7000-7052-50A48AF6352D}"/>
              </a:ext>
            </a:extLst>
          </p:cNvPr>
          <p:cNvSpPr txBox="1"/>
          <p:nvPr/>
        </p:nvSpPr>
        <p:spPr>
          <a:xfrm>
            <a:off x="3145640" y="1110514"/>
            <a:ext cx="2517036" cy="253916"/>
          </a:xfrm>
          <a:prstGeom prst="rect">
            <a:avLst/>
          </a:prstGeom>
          <a:noFill/>
        </p:spPr>
        <p:txBody>
          <a:bodyPr wrap="none" rtlCol="0">
            <a:spAutoFit/>
          </a:bodyPr>
          <a:lstStyle/>
          <a:p>
            <a:r>
              <a:rPr lang="de-DE" sz="1050" b="1"/>
              <a:t>Klassische </a:t>
            </a:r>
            <a:r>
              <a:rPr lang="de-DE" sz="1050" b="1" err="1"/>
              <a:t>Explainable</a:t>
            </a:r>
            <a:r>
              <a:rPr lang="de-DE" sz="1050" b="1"/>
              <a:t> AI Methoden</a:t>
            </a:r>
          </a:p>
        </p:txBody>
      </p:sp>
      <p:sp>
        <p:nvSpPr>
          <p:cNvPr id="44" name="Textfeld 43">
            <a:extLst>
              <a:ext uri="{FF2B5EF4-FFF2-40B4-BE49-F238E27FC236}">
                <a16:creationId xmlns:a16="http://schemas.microsoft.com/office/drawing/2014/main" id="{5644233B-C3CB-B340-B5D3-ECD427557D80}"/>
              </a:ext>
            </a:extLst>
          </p:cNvPr>
          <p:cNvSpPr txBox="1"/>
          <p:nvPr/>
        </p:nvSpPr>
        <p:spPr>
          <a:xfrm>
            <a:off x="3027165" y="1754655"/>
            <a:ext cx="2837636" cy="553998"/>
          </a:xfrm>
          <a:prstGeom prst="rect">
            <a:avLst/>
          </a:prstGeom>
          <a:noFill/>
        </p:spPr>
        <p:txBody>
          <a:bodyPr wrap="none" rtlCol="0">
            <a:spAutoFit/>
          </a:bodyPr>
          <a:lstStyle/>
          <a:p>
            <a:pPr algn="ctr"/>
            <a:r>
              <a:rPr lang="de-DE" sz="1000" i="1"/>
              <a:t>Definieren Bereiche in den Daten, die relevant</a:t>
            </a:r>
          </a:p>
          <a:p>
            <a:pPr algn="ctr"/>
            <a:r>
              <a:rPr lang="de-DE" sz="1000" i="1"/>
              <a:t>für ein bestimmtes Klassifikationsergebnis des </a:t>
            </a:r>
          </a:p>
          <a:p>
            <a:pPr algn="ctr"/>
            <a:r>
              <a:rPr lang="de-DE" sz="1000" i="1"/>
              <a:t>Modells sind</a:t>
            </a:r>
          </a:p>
        </p:txBody>
      </p:sp>
      <p:sp>
        <p:nvSpPr>
          <p:cNvPr id="45" name="Rechteck 44">
            <a:extLst>
              <a:ext uri="{FF2B5EF4-FFF2-40B4-BE49-F238E27FC236}">
                <a16:creationId xmlns:a16="http://schemas.microsoft.com/office/drawing/2014/main" id="{4536CCDA-DAE0-7F94-9AA9-D2FA875C9962}"/>
              </a:ext>
            </a:extLst>
          </p:cNvPr>
          <p:cNvSpPr/>
          <p:nvPr/>
        </p:nvSpPr>
        <p:spPr>
          <a:xfrm>
            <a:off x="3193037" y="1397134"/>
            <a:ext cx="786891" cy="212240"/>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de-DE" sz="1050"/>
              <a:t>Lime</a:t>
            </a:r>
          </a:p>
        </p:txBody>
      </p:sp>
      <p:sp>
        <p:nvSpPr>
          <p:cNvPr id="46" name="Rechteck 45">
            <a:extLst>
              <a:ext uri="{FF2B5EF4-FFF2-40B4-BE49-F238E27FC236}">
                <a16:creationId xmlns:a16="http://schemas.microsoft.com/office/drawing/2014/main" id="{857C2CD9-168D-3D91-D5A8-B833B3684D8C}"/>
              </a:ext>
            </a:extLst>
          </p:cNvPr>
          <p:cNvSpPr/>
          <p:nvPr/>
        </p:nvSpPr>
        <p:spPr>
          <a:xfrm>
            <a:off x="4052377" y="1397134"/>
            <a:ext cx="786891" cy="212240"/>
          </a:xfrm>
          <a:prstGeom prst="rect">
            <a:avLst/>
          </a:prstGeom>
          <a:solidFill>
            <a:srgbClr val="807F84"/>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de-DE" sz="1050"/>
              <a:t>Grad-Cam</a:t>
            </a:r>
          </a:p>
        </p:txBody>
      </p:sp>
      <p:sp>
        <p:nvSpPr>
          <p:cNvPr id="47" name="Rechteck 46">
            <a:extLst>
              <a:ext uri="{FF2B5EF4-FFF2-40B4-BE49-F238E27FC236}">
                <a16:creationId xmlns:a16="http://schemas.microsoft.com/office/drawing/2014/main" id="{A9E47B34-7329-2911-C8A1-A65DEA75903E}"/>
              </a:ext>
            </a:extLst>
          </p:cNvPr>
          <p:cNvSpPr/>
          <p:nvPr/>
        </p:nvSpPr>
        <p:spPr>
          <a:xfrm>
            <a:off x="4911717" y="1397134"/>
            <a:ext cx="786891" cy="212240"/>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de-DE" sz="1050"/>
              <a:t>SHAP</a:t>
            </a:r>
          </a:p>
        </p:txBody>
      </p:sp>
      <p:sp>
        <p:nvSpPr>
          <p:cNvPr id="51" name="Abgerundetes Rechteck 50">
            <a:extLst>
              <a:ext uri="{FF2B5EF4-FFF2-40B4-BE49-F238E27FC236}">
                <a16:creationId xmlns:a16="http://schemas.microsoft.com/office/drawing/2014/main" id="{97AF45FC-8129-3E80-31DE-195DCC493B6E}"/>
              </a:ext>
            </a:extLst>
          </p:cNvPr>
          <p:cNvSpPr/>
          <p:nvPr/>
        </p:nvSpPr>
        <p:spPr>
          <a:xfrm>
            <a:off x="8201387" y="2641356"/>
            <a:ext cx="2980999" cy="1295599"/>
          </a:xfrm>
          <a:prstGeom prst="roundRect">
            <a:avLst/>
          </a:prstGeom>
          <a:solidFill>
            <a:schemeClr val="accent3">
              <a:lumMod val="20000"/>
              <a:lumOff val="80000"/>
            </a:schemeClr>
          </a:solid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52" name="Textfeld 51">
            <a:extLst>
              <a:ext uri="{FF2B5EF4-FFF2-40B4-BE49-F238E27FC236}">
                <a16:creationId xmlns:a16="http://schemas.microsoft.com/office/drawing/2014/main" id="{0C33B049-C25A-AAD4-A3B2-23A4D01D9B76}"/>
              </a:ext>
            </a:extLst>
          </p:cNvPr>
          <p:cNvSpPr txBox="1"/>
          <p:nvPr/>
        </p:nvSpPr>
        <p:spPr>
          <a:xfrm>
            <a:off x="8273259" y="2704695"/>
            <a:ext cx="1217000" cy="253916"/>
          </a:xfrm>
          <a:prstGeom prst="rect">
            <a:avLst/>
          </a:prstGeom>
          <a:noFill/>
        </p:spPr>
        <p:txBody>
          <a:bodyPr wrap="none" rtlCol="0">
            <a:spAutoFit/>
          </a:bodyPr>
          <a:lstStyle/>
          <a:p>
            <a:r>
              <a:rPr lang="de-DE" sz="1050" b="1"/>
              <a:t>Konfidenzcheck</a:t>
            </a:r>
          </a:p>
        </p:txBody>
      </p:sp>
      <p:sp>
        <p:nvSpPr>
          <p:cNvPr id="53" name="Rechteck 52">
            <a:extLst>
              <a:ext uri="{FF2B5EF4-FFF2-40B4-BE49-F238E27FC236}">
                <a16:creationId xmlns:a16="http://schemas.microsoft.com/office/drawing/2014/main" id="{48BBB841-6043-2EC5-12A6-C3166B8D9FD4}"/>
              </a:ext>
            </a:extLst>
          </p:cNvPr>
          <p:cNvSpPr/>
          <p:nvPr/>
        </p:nvSpPr>
        <p:spPr>
          <a:xfrm>
            <a:off x="8479517" y="2926964"/>
            <a:ext cx="1117688" cy="17237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Klasse 0: 95%</a:t>
            </a:r>
          </a:p>
        </p:txBody>
      </p:sp>
      <p:sp>
        <p:nvSpPr>
          <p:cNvPr id="54" name="Rechteck 53">
            <a:extLst>
              <a:ext uri="{FF2B5EF4-FFF2-40B4-BE49-F238E27FC236}">
                <a16:creationId xmlns:a16="http://schemas.microsoft.com/office/drawing/2014/main" id="{AC076A46-8F93-CFEF-B558-2D4B10F8DF88}"/>
              </a:ext>
            </a:extLst>
          </p:cNvPr>
          <p:cNvSpPr/>
          <p:nvPr/>
        </p:nvSpPr>
        <p:spPr>
          <a:xfrm>
            <a:off x="9806324" y="2929355"/>
            <a:ext cx="1117688" cy="17516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Klasse 1: 5%</a:t>
            </a:r>
          </a:p>
        </p:txBody>
      </p:sp>
      <p:sp>
        <p:nvSpPr>
          <p:cNvPr id="56" name="Textfeld 55">
            <a:extLst>
              <a:ext uri="{FF2B5EF4-FFF2-40B4-BE49-F238E27FC236}">
                <a16:creationId xmlns:a16="http://schemas.microsoft.com/office/drawing/2014/main" id="{8AE10EC2-ABCD-0133-8898-8E47F3361505}"/>
              </a:ext>
            </a:extLst>
          </p:cNvPr>
          <p:cNvSpPr txBox="1"/>
          <p:nvPr/>
        </p:nvSpPr>
        <p:spPr>
          <a:xfrm>
            <a:off x="8171985" y="3466457"/>
            <a:ext cx="3090147" cy="400110"/>
          </a:xfrm>
          <a:prstGeom prst="rect">
            <a:avLst/>
          </a:prstGeom>
          <a:noFill/>
        </p:spPr>
        <p:txBody>
          <a:bodyPr wrap="square" rtlCol="0">
            <a:spAutoFit/>
          </a:bodyPr>
          <a:lstStyle/>
          <a:p>
            <a:pPr algn="ctr"/>
            <a:r>
              <a:rPr lang="de-DE" sz="1000" i="1"/>
              <a:t>Vergleicht wie sicher sich das Modell nach der “Auslöschung“ verschiedener Bereiche ist</a:t>
            </a:r>
          </a:p>
        </p:txBody>
      </p:sp>
      <p:sp>
        <p:nvSpPr>
          <p:cNvPr id="57" name="Rechteck 56">
            <a:extLst>
              <a:ext uri="{FF2B5EF4-FFF2-40B4-BE49-F238E27FC236}">
                <a16:creationId xmlns:a16="http://schemas.microsoft.com/office/drawing/2014/main" id="{CB504AC4-43C2-2AB3-FD3E-D786CF3B759D}"/>
              </a:ext>
            </a:extLst>
          </p:cNvPr>
          <p:cNvSpPr/>
          <p:nvPr/>
        </p:nvSpPr>
        <p:spPr>
          <a:xfrm>
            <a:off x="8479517" y="3290151"/>
            <a:ext cx="1117688" cy="17237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Klasse 0: 89%</a:t>
            </a:r>
          </a:p>
        </p:txBody>
      </p:sp>
      <p:sp>
        <p:nvSpPr>
          <p:cNvPr id="58" name="Rechteck 57">
            <a:extLst>
              <a:ext uri="{FF2B5EF4-FFF2-40B4-BE49-F238E27FC236}">
                <a16:creationId xmlns:a16="http://schemas.microsoft.com/office/drawing/2014/main" id="{DBA7A7A1-2B62-8B1F-0875-2E8EA15091A3}"/>
              </a:ext>
            </a:extLst>
          </p:cNvPr>
          <p:cNvSpPr/>
          <p:nvPr/>
        </p:nvSpPr>
        <p:spPr>
          <a:xfrm>
            <a:off x="9806324" y="3292542"/>
            <a:ext cx="1117688" cy="175168"/>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Klasse 1: 11%</a:t>
            </a:r>
          </a:p>
        </p:txBody>
      </p:sp>
      <p:grpSp>
        <p:nvGrpSpPr>
          <p:cNvPr id="60" name="Gruppieren 59">
            <a:extLst>
              <a:ext uri="{FF2B5EF4-FFF2-40B4-BE49-F238E27FC236}">
                <a16:creationId xmlns:a16="http://schemas.microsoft.com/office/drawing/2014/main" id="{146E7654-D2C3-0858-E2B2-A9B4316B868A}"/>
              </a:ext>
            </a:extLst>
          </p:cNvPr>
          <p:cNvGrpSpPr/>
          <p:nvPr/>
        </p:nvGrpSpPr>
        <p:grpSpPr>
          <a:xfrm>
            <a:off x="6603650" y="4227827"/>
            <a:ext cx="2728213" cy="1069155"/>
            <a:chOff x="8153400" y="2786307"/>
            <a:chExt cx="3830594" cy="1627115"/>
          </a:xfrm>
        </p:grpSpPr>
        <p:sp>
          <p:nvSpPr>
            <p:cNvPr id="61" name="Abgerundetes Rechteck 60">
              <a:extLst>
                <a:ext uri="{FF2B5EF4-FFF2-40B4-BE49-F238E27FC236}">
                  <a16:creationId xmlns:a16="http://schemas.microsoft.com/office/drawing/2014/main" id="{8C01014C-8774-934B-FC7F-F2ED045B9F62}"/>
                </a:ext>
              </a:extLst>
            </p:cNvPr>
            <p:cNvSpPr/>
            <p:nvPr/>
          </p:nvSpPr>
          <p:spPr>
            <a:xfrm>
              <a:off x="8153400" y="2786307"/>
              <a:ext cx="3830594" cy="1627115"/>
            </a:xfrm>
            <a:prstGeom prst="roundRect">
              <a:avLst/>
            </a:prstGeom>
            <a:solidFill>
              <a:schemeClr val="accent3">
                <a:lumMod val="20000"/>
                <a:lumOff val="80000"/>
              </a:schemeClr>
            </a:solid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62" name="Textfeld 61">
              <a:extLst>
                <a:ext uri="{FF2B5EF4-FFF2-40B4-BE49-F238E27FC236}">
                  <a16:creationId xmlns:a16="http://schemas.microsoft.com/office/drawing/2014/main" id="{FADC5C31-A453-1D00-7DCF-B4C18ABBC457}"/>
                </a:ext>
              </a:extLst>
            </p:cNvPr>
            <p:cNvSpPr txBox="1"/>
            <p:nvPr/>
          </p:nvSpPr>
          <p:spPr>
            <a:xfrm>
              <a:off x="8254314" y="2893541"/>
              <a:ext cx="2534765" cy="386427"/>
            </a:xfrm>
            <a:prstGeom prst="rect">
              <a:avLst/>
            </a:prstGeom>
            <a:noFill/>
          </p:spPr>
          <p:txBody>
            <a:bodyPr wrap="none" rtlCol="0">
              <a:spAutoFit/>
            </a:bodyPr>
            <a:lstStyle/>
            <a:p>
              <a:r>
                <a:rPr lang="de-DE" sz="1050" b="1"/>
                <a:t>Teil der Zeitreihe löschen</a:t>
              </a:r>
            </a:p>
          </p:txBody>
        </p:sp>
        <p:sp>
          <p:nvSpPr>
            <p:cNvPr id="65" name="Textfeld 64">
              <a:extLst>
                <a:ext uri="{FF2B5EF4-FFF2-40B4-BE49-F238E27FC236}">
                  <a16:creationId xmlns:a16="http://schemas.microsoft.com/office/drawing/2014/main" id="{1D1F4E9B-E4BC-04ED-6AFD-3D2DBC94FB21}"/>
                </a:ext>
              </a:extLst>
            </p:cNvPr>
            <p:cNvSpPr txBox="1"/>
            <p:nvPr/>
          </p:nvSpPr>
          <p:spPr>
            <a:xfrm>
              <a:off x="8166610" y="3732601"/>
              <a:ext cx="3804174" cy="608915"/>
            </a:xfrm>
            <a:prstGeom prst="rect">
              <a:avLst/>
            </a:prstGeom>
            <a:noFill/>
          </p:spPr>
          <p:txBody>
            <a:bodyPr wrap="none" rtlCol="0">
              <a:spAutoFit/>
            </a:bodyPr>
            <a:lstStyle/>
            <a:p>
              <a:pPr algn="ctr"/>
              <a:r>
                <a:rPr lang="de-DE" sz="1000" i="1"/>
                <a:t>“Löscht“ für Klassifikation relevante Bereiche</a:t>
              </a:r>
            </a:p>
            <a:p>
              <a:pPr algn="ctr"/>
              <a:r>
                <a:rPr lang="de-DE" sz="1000" i="1"/>
                <a:t>der Zeitreihe</a:t>
              </a:r>
            </a:p>
          </p:txBody>
        </p:sp>
      </p:grpSp>
      <p:sp>
        <p:nvSpPr>
          <p:cNvPr id="68" name="Rechteck 67">
            <a:extLst>
              <a:ext uri="{FF2B5EF4-FFF2-40B4-BE49-F238E27FC236}">
                <a16:creationId xmlns:a16="http://schemas.microsoft.com/office/drawing/2014/main" id="{72804C52-5F90-D742-F02C-836600E9FF02}"/>
              </a:ext>
            </a:extLst>
          </p:cNvPr>
          <p:cNvSpPr/>
          <p:nvPr/>
        </p:nvSpPr>
        <p:spPr>
          <a:xfrm>
            <a:off x="6728684" y="4555773"/>
            <a:ext cx="685952" cy="19486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Zero</a:t>
            </a:r>
          </a:p>
        </p:txBody>
      </p:sp>
      <p:sp>
        <p:nvSpPr>
          <p:cNvPr id="69" name="Rechteck 68">
            <a:extLst>
              <a:ext uri="{FF2B5EF4-FFF2-40B4-BE49-F238E27FC236}">
                <a16:creationId xmlns:a16="http://schemas.microsoft.com/office/drawing/2014/main" id="{91264F18-36BC-69FF-EC6E-DE947AEBEA9A}"/>
              </a:ext>
            </a:extLst>
          </p:cNvPr>
          <p:cNvSpPr/>
          <p:nvPr/>
        </p:nvSpPr>
        <p:spPr>
          <a:xfrm>
            <a:off x="7616695" y="4555773"/>
            <a:ext cx="685952" cy="194867"/>
          </a:xfrm>
          <a:prstGeom prst="rect">
            <a:avLst/>
          </a:prstGeom>
          <a:solidFill>
            <a:srgbClr val="807F8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Mean</a:t>
            </a:r>
          </a:p>
        </p:txBody>
      </p:sp>
      <p:sp>
        <p:nvSpPr>
          <p:cNvPr id="70" name="Rechteck 69">
            <a:extLst>
              <a:ext uri="{FF2B5EF4-FFF2-40B4-BE49-F238E27FC236}">
                <a16:creationId xmlns:a16="http://schemas.microsoft.com/office/drawing/2014/main" id="{88FC0BA2-DA6B-8833-712C-801CB06E3D39}"/>
              </a:ext>
            </a:extLst>
          </p:cNvPr>
          <p:cNvSpPr/>
          <p:nvPr/>
        </p:nvSpPr>
        <p:spPr>
          <a:xfrm>
            <a:off x="8504706" y="4555773"/>
            <a:ext cx="685952" cy="19486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linear</a:t>
            </a:r>
          </a:p>
        </p:txBody>
      </p:sp>
      <p:grpSp>
        <p:nvGrpSpPr>
          <p:cNvPr id="96" name="Gruppieren 95">
            <a:extLst>
              <a:ext uri="{FF2B5EF4-FFF2-40B4-BE49-F238E27FC236}">
                <a16:creationId xmlns:a16="http://schemas.microsoft.com/office/drawing/2014/main" id="{E28A53B6-BBC9-722E-DCC2-01B3F7AE64DB}"/>
              </a:ext>
            </a:extLst>
          </p:cNvPr>
          <p:cNvGrpSpPr/>
          <p:nvPr/>
        </p:nvGrpSpPr>
        <p:grpSpPr>
          <a:xfrm>
            <a:off x="6611736" y="1187224"/>
            <a:ext cx="2728213" cy="1069155"/>
            <a:chOff x="8153400" y="2786307"/>
            <a:chExt cx="3830594" cy="1627115"/>
          </a:xfrm>
        </p:grpSpPr>
        <p:sp>
          <p:nvSpPr>
            <p:cNvPr id="100" name="Abgerundetes Rechteck 99">
              <a:extLst>
                <a:ext uri="{FF2B5EF4-FFF2-40B4-BE49-F238E27FC236}">
                  <a16:creationId xmlns:a16="http://schemas.microsoft.com/office/drawing/2014/main" id="{110E72BD-D744-084A-7E3C-ADC5E66A763E}"/>
                </a:ext>
              </a:extLst>
            </p:cNvPr>
            <p:cNvSpPr/>
            <p:nvPr/>
          </p:nvSpPr>
          <p:spPr>
            <a:xfrm>
              <a:off x="8153400" y="2786307"/>
              <a:ext cx="3830594" cy="1627115"/>
            </a:xfrm>
            <a:prstGeom prst="roundRect">
              <a:avLst/>
            </a:prstGeom>
            <a:solidFill>
              <a:schemeClr val="accent3">
                <a:lumMod val="20000"/>
                <a:lumOff val="80000"/>
              </a:schemeClr>
            </a:solidFill>
            <a:ln w="254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101" name="Textfeld 100">
              <a:extLst>
                <a:ext uri="{FF2B5EF4-FFF2-40B4-BE49-F238E27FC236}">
                  <a16:creationId xmlns:a16="http://schemas.microsoft.com/office/drawing/2014/main" id="{F12D89C8-3588-136C-DAA8-A326260BBA15}"/>
                </a:ext>
              </a:extLst>
            </p:cNvPr>
            <p:cNvSpPr txBox="1"/>
            <p:nvPr/>
          </p:nvSpPr>
          <p:spPr>
            <a:xfrm>
              <a:off x="8254314" y="2893541"/>
              <a:ext cx="2534765" cy="386427"/>
            </a:xfrm>
            <a:prstGeom prst="rect">
              <a:avLst/>
            </a:prstGeom>
            <a:noFill/>
          </p:spPr>
          <p:txBody>
            <a:bodyPr wrap="none" rtlCol="0">
              <a:spAutoFit/>
            </a:bodyPr>
            <a:lstStyle/>
            <a:p>
              <a:r>
                <a:rPr lang="de-DE" sz="1050" b="1"/>
                <a:t>Teil der Zeitreihe löschen</a:t>
              </a:r>
            </a:p>
          </p:txBody>
        </p:sp>
        <p:sp>
          <p:nvSpPr>
            <p:cNvPr id="102" name="Textfeld 101">
              <a:extLst>
                <a:ext uri="{FF2B5EF4-FFF2-40B4-BE49-F238E27FC236}">
                  <a16:creationId xmlns:a16="http://schemas.microsoft.com/office/drawing/2014/main" id="{A7605CED-5554-7A62-6D37-5F4EF18A6889}"/>
                </a:ext>
              </a:extLst>
            </p:cNvPr>
            <p:cNvSpPr txBox="1"/>
            <p:nvPr/>
          </p:nvSpPr>
          <p:spPr>
            <a:xfrm>
              <a:off x="8166610" y="3732601"/>
              <a:ext cx="3804174" cy="608915"/>
            </a:xfrm>
            <a:prstGeom prst="rect">
              <a:avLst/>
            </a:prstGeom>
            <a:noFill/>
          </p:spPr>
          <p:txBody>
            <a:bodyPr wrap="none" rtlCol="0">
              <a:spAutoFit/>
            </a:bodyPr>
            <a:lstStyle/>
            <a:p>
              <a:pPr algn="ctr"/>
              <a:r>
                <a:rPr lang="de-DE" sz="1000" i="1"/>
                <a:t>“Löscht“ für Klassifikation relevante Bereiche</a:t>
              </a:r>
            </a:p>
            <a:p>
              <a:pPr algn="ctr"/>
              <a:r>
                <a:rPr lang="de-DE" sz="1000" i="1"/>
                <a:t>der Zeitreihe</a:t>
              </a:r>
            </a:p>
          </p:txBody>
        </p:sp>
      </p:grpSp>
      <p:sp>
        <p:nvSpPr>
          <p:cNvPr id="97" name="Rechteck 96">
            <a:extLst>
              <a:ext uri="{FF2B5EF4-FFF2-40B4-BE49-F238E27FC236}">
                <a16:creationId xmlns:a16="http://schemas.microsoft.com/office/drawing/2014/main" id="{046C75D0-FBEB-785F-2135-4B65BCFFDBD9}"/>
              </a:ext>
            </a:extLst>
          </p:cNvPr>
          <p:cNvSpPr/>
          <p:nvPr/>
        </p:nvSpPr>
        <p:spPr>
          <a:xfrm>
            <a:off x="6736770" y="1515170"/>
            <a:ext cx="685952" cy="19486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Null</a:t>
            </a:r>
          </a:p>
        </p:txBody>
      </p:sp>
      <p:sp>
        <p:nvSpPr>
          <p:cNvPr id="98" name="Rechteck 97">
            <a:extLst>
              <a:ext uri="{FF2B5EF4-FFF2-40B4-BE49-F238E27FC236}">
                <a16:creationId xmlns:a16="http://schemas.microsoft.com/office/drawing/2014/main" id="{580F0880-21F7-2724-75E8-EF5F565C0EC1}"/>
              </a:ext>
            </a:extLst>
          </p:cNvPr>
          <p:cNvSpPr/>
          <p:nvPr/>
        </p:nvSpPr>
        <p:spPr>
          <a:xfrm>
            <a:off x="7624781" y="1515170"/>
            <a:ext cx="685952" cy="194867"/>
          </a:xfrm>
          <a:prstGeom prst="rect">
            <a:avLst/>
          </a:prstGeom>
          <a:solidFill>
            <a:srgbClr val="807F8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Mean</a:t>
            </a:r>
          </a:p>
        </p:txBody>
      </p:sp>
      <p:sp>
        <p:nvSpPr>
          <p:cNvPr id="99" name="Rechteck 98">
            <a:extLst>
              <a:ext uri="{FF2B5EF4-FFF2-40B4-BE49-F238E27FC236}">
                <a16:creationId xmlns:a16="http://schemas.microsoft.com/office/drawing/2014/main" id="{11AB7C26-6129-F3C4-2431-056F0AFE3C7F}"/>
              </a:ext>
            </a:extLst>
          </p:cNvPr>
          <p:cNvSpPr/>
          <p:nvPr/>
        </p:nvSpPr>
        <p:spPr>
          <a:xfrm>
            <a:off x="8512792" y="1515170"/>
            <a:ext cx="685952" cy="19486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a:t>linear</a:t>
            </a:r>
          </a:p>
        </p:txBody>
      </p:sp>
      <p:sp>
        <p:nvSpPr>
          <p:cNvPr id="3" name="Datumsplatzhalter 2">
            <a:extLst>
              <a:ext uri="{FF2B5EF4-FFF2-40B4-BE49-F238E27FC236}">
                <a16:creationId xmlns:a16="http://schemas.microsoft.com/office/drawing/2014/main" id="{FF2030AC-A0D2-F70B-B9EA-C8A8D0C9FBFD}"/>
              </a:ext>
            </a:extLst>
          </p:cNvPr>
          <p:cNvSpPr>
            <a:spLocks noGrp="1"/>
          </p:cNvSpPr>
          <p:nvPr>
            <p:ph type="dt" sz="half" idx="19"/>
          </p:nvPr>
        </p:nvSpPr>
        <p:spPr/>
        <p:txBody>
          <a:bodyPr/>
          <a:lstStyle/>
          <a:p>
            <a:fld id="{469FAAA5-EE5E-4762-B607-2A32CDA2AED9}" type="datetime1">
              <a:rPr lang="de-DE" noProof="0" smtClean="0"/>
              <a:t>15.01.2025</a:t>
            </a:fld>
            <a:endParaRPr lang="de-DE" noProof="0"/>
          </a:p>
        </p:txBody>
      </p:sp>
      <p:sp>
        <p:nvSpPr>
          <p:cNvPr id="4" name="Fußzeilenplatzhalter 3">
            <a:extLst>
              <a:ext uri="{FF2B5EF4-FFF2-40B4-BE49-F238E27FC236}">
                <a16:creationId xmlns:a16="http://schemas.microsoft.com/office/drawing/2014/main" id="{BFC83318-3425-A0A1-4774-8DFDCE3B8520}"/>
              </a:ext>
            </a:extLst>
          </p:cNvPr>
          <p:cNvSpPr>
            <a:spLocks noGrp="1"/>
          </p:cNvSpPr>
          <p:nvPr>
            <p:ph type="ftr" sz="quarter" idx="20"/>
          </p:nvPr>
        </p:nvSpPr>
        <p:spPr/>
        <p:txBody>
          <a:bodyPr/>
          <a:lstStyle/>
          <a:p>
            <a:r>
              <a:rPr lang="de-DE" noProof="0"/>
              <a:t>FZI Forschungszentrum Informatik</a:t>
            </a:r>
          </a:p>
        </p:txBody>
      </p:sp>
      <p:sp>
        <p:nvSpPr>
          <p:cNvPr id="5" name="Foliennummernplatzhalter 4">
            <a:extLst>
              <a:ext uri="{FF2B5EF4-FFF2-40B4-BE49-F238E27FC236}">
                <a16:creationId xmlns:a16="http://schemas.microsoft.com/office/drawing/2014/main" id="{9720008F-8489-476E-5F0F-927BA2B8F289}"/>
              </a:ext>
            </a:extLst>
          </p:cNvPr>
          <p:cNvSpPr>
            <a:spLocks noGrp="1"/>
          </p:cNvSpPr>
          <p:nvPr>
            <p:ph type="sldNum" sz="quarter" idx="21"/>
          </p:nvPr>
        </p:nvSpPr>
        <p:spPr/>
        <p:txBody>
          <a:bodyPr/>
          <a:lstStyle/>
          <a:p>
            <a:fld id="{02CEFE82-39F2-4F47-8A0C-D5AB3496FA5C}" type="slidenum">
              <a:rPr lang="de-DE" noProof="0" smtClean="0"/>
              <a:t>4</a:t>
            </a:fld>
            <a:endParaRPr lang="de-DE" noProof="0"/>
          </a:p>
        </p:txBody>
      </p:sp>
      <p:sp>
        <p:nvSpPr>
          <p:cNvPr id="49" name="Textfeld 48">
            <a:extLst>
              <a:ext uri="{FF2B5EF4-FFF2-40B4-BE49-F238E27FC236}">
                <a16:creationId xmlns:a16="http://schemas.microsoft.com/office/drawing/2014/main" id="{5AFC700C-04F3-B22A-8509-C11F52D94610}"/>
              </a:ext>
            </a:extLst>
          </p:cNvPr>
          <p:cNvSpPr txBox="1"/>
          <p:nvPr/>
        </p:nvSpPr>
        <p:spPr>
          <a:xfrm>
            <a:off x="1879839" y="5552182"/>
            <a:ext cx="9302547" cy="369332"/>
          </a:xfrm>
          <a:prstGeom prst="rect">
            <a:avLst/>
          </a:prstGeom>
          <a:noFill/>
        </p:spPr>
        <p:txBody>
          <a:bodyPr wrap="none" rtlCol="0">
            <a:spAutoFit/>
          </a:bodyPr>
          <a:lstStyle/>
          <a:p>
            <a:r>
              <a:rPr lang="de-DE" b="1"/>
              <a:t>Forschungsfrage: </a:t>
            </a:r>
            <a:r>
              <a:rPr lang="de-DE"/>
              <a:t>Können Pattern </a:t>
            </a:r>
            <a:r>
              <a:rPr lang="de-DE" err="1"/>
              <a:t>Extractors</a:t>
            </a:r>
            <a:r>
              <a:rPr lang="de-DE"/>
              <a:t> für das Modell relevante Bereiche finden? </a:t>
            </a:r>
          </a:p>
        </p:txBody>
      </p:sp>
      <p:sp>
        <p:nvSpPr>
          <p:cNvPr id="2" name="Titel 4">
            <a:extLst>
              <a:ext uri="{FF2B5EF4-FFF2-40B4-BE49-F238E27FC236}">
                <a16:creationId xmlns:a16="http://schemas.microsoft.com/office/drawing/2014/main" id="{74C11633-7730-33A7-D04F-EB1E8AD3CD24}"/>
              </a:ext>
            </a:extLst>
          </p:cNvPr>
          <p:cNvSpPr>
            <a:spLocks noGrp="1"/>
          </p:cNvSpPr>
          <p:nvPr>
            <p:ph type="title"/>
          </p:nvPr>
        </p:nvSpPr>
        <p:spPr>
          <a:xfrm>
            <a:off x="540000" y="432000"/>
            <a:ext cx="10232222" cy="539685"/>
          </a:xfrm>
        </p:spPr>
        <p:txBody>
          <a:bodyPr vert="horz"/>
          <a:lstStyle/>
          <a:p>
            <a:r>
              <a:rPr lang="de-DE"/>
              <a:t>Konzept</a:t>
            </a:r>
          </a:p>
        </p:txBody>
      </p:sp>
    </p:spTree>
    <p:extLst>
      <p:ext uri="{BB962C8B-B14F-4D97-AF65-F5344CB8AC3E}">
        <p14:creationId xmlns:p14="http://schemas.microsoft.com/office/powerpoint/2010/main" val="4134013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9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9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9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0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0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5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5" grpId="0" animBg="1"/>
      <p:bldP spid="106" grpId="0" animBg="1"/>
      <p:bldP spid="107" grpId="0" animBg="1"/>
      <p:bldP spid="33" grpId="0" animBg="1"/>
      <p:bldP spid="34" grpId="0"/>
      <p:bldP spid="35" grpId="0" animBg="1"/>
      <p:bldP spid="36" grpId="0" animBg="1"/>
      <p:bldP spid="37" grpId="0"/>
      <p:bldP spid="40" grpId="0" animBg="1"/>
      <p:bldP spid="41" grpId="0"/>
      <p:bldP spid="44" grpId="0"/>
      <p:bldP spid="45" grpId="0" animBg="1"/>
      <p:bldP spid="46" grpId="0" animBg="1"/>
      <p:bldP spid="47" grpId="0" animBg="1"/>
      <p:bldP spid="51" grpId="0" animBg="1"/>
      <p:bldP spid="52" grpId="0"/>
      <p:bldP spid="53" grpId="0" animBg="1"/>
      <p:bldP spid="54" grpId="0" animBg="1"/>
      <p:bldP spid="56" grpId="0"/>
      <p:bldP spid="57" grpId="0" animBg="1"/>
      <p:bldP spid="58" grpId="0" animBg="1"/>
      <p:bldP spid="68" grpId="0" animBg="1"/>
      <p:bldP spid="69" grpId="0" animBg="1"/>
      <p:bldP spid="70" grpId="0" animBg="1"/>
      <p:bldP spid="97" grpId="0" animBg="1"/>
      <p:bldP spid="98" grpId="0" animBg="1"/>
      <p:bldP spid="99" grpId="0" animBg="1"/>
      <p:bldP spid="4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3DF24-A44A-8BB2-4C83-D742A805F20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9224C34-8456-9655-4BBF-796046D89B75}"/>
              </a:ext>
            </a:extLst>
          </p:cNvPr>
          <p:cNvGraphicFramePr>
            <a:graphicFrameLocks noChangeAspect="1"/>
          </p:cNvGraphicFramePr>
          <p:nvPr>
            <p:custDataLst>
              <p:tags r:id="rId1"/>
            </p:custDataLst>
            <p:extLst>
              <p:ext uri="{D42A27DB-BD31-4B8C-83A1-F6EECF244321}">
                <p14:modId xmlns:p14="http://schemas.microsoft.com/office/powerpoint/2010/main" val="2831426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F9224C34-8456-9655-4BBF-796046D8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Textfeld 34">
            <a:extLst>
              <a:ext uri="{FF2B5EF4-FFF2-40B4-BE49-F238E27FC236}">
                <a16:creationId xmlns:a16="http://schemas.microsoft.com/office/drawing/2014/main" id="{C1EEC7CF-1BA7-DF6F-A8BA-730C35A5AB02}"/>
              </a:ext>
            </a:extLst>
          </p:cNvPr>
          <p:cNvSpPr txBox="1"/>
          <p:nvPr/>
        </p:nvSpPr>
        <p:spPr>
          <a:xfrm>
            <a:off x="539751" y="1166175"/>
            <a:ext cx="4557543" cy="360000"/>
          </a:xfrm>
          <a:prstGeom prst="rect">
            <a:avLst/>
          </a:prstGeom>
          <a:solidFill>
            <a:schemeClr val="bg1"/>
          </a:solidFill>
        </p:spPr>
        <p:txBody>
          <a:bodyPr wrap="square" lIns="0" tIns="0" rIns="0" bIns="0" rtlCol="0">
            <a:noAutofit/>
          </a:bodyPr>
          <a:lstStyle/>
          <a:p>
            <a:pPr algn="l">
              <a:lnSpc>
                <a:spcPct val="110000"/>
              </a:lnSpc>
              <a:spcAft>
                <a:spcPts val="1000"/>
              </a:spcAft>
            </a:pPr>
            <a:r>
              <a:rPr lang="de-DE" sz="1400" b="1">
                <a:solidFill>
                  <a:schemeClr val="tx2">
                    <a:lumMod val="75000"/>
                  </a:schemeClr>
                </a:solidFill>
              </a:rPr>
              <a:t>Thema: </a:t>
            </a:r>
            <a:r>
              <a:rPr lang="en-US" sz="1400" b="1">
                <a:solidFill>
                  <a:schemeClr val="tx2">
                    <a:lumMod val="75000"/>
                  </a:schemeClr>
                </a:solidFill>
              </a:rPr>
              <a:t>Explainable Machine Learning for Time Series</a:t>
            </a:r>
          </a:p>
          <a:p>
            <a:pPr algn="l">
              <a:lnSpc>
                <a:spcPct val="110000"/>
              </a:lnSpc>
              <a:spcAft>
                <a:spcPts val="1000"/>
              </a:spcAft>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a:p>
            <a:pPr lvl="1">
              <a:lnSpc>
                <a:spcPct val="110000"/>
              </a:lnSpc>
              <a:spcAft>
                <a:spcPts val="1000"/>
              </a:spcAft>
            </a:pPr>
            <a:endParaRPr lang="de-DE" sz="1400">
              <a:solidFill>
                <a:schemeClr val="tx2">
                  <a:lumMod val="75000"/>
                </a:schemeClr>
              </a:solidFill>
              <a:sym typeface="Wingdings" panose="05000000000000000000" pitchFamily="2" charset="2"/>
            </a:endParaRPr>
          </a:p>
          <a:p>
            <a:pPr marL="285750"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marL="285750" indent="-285750">
              <a:lnSpc>
                <a:spcPct val="110000"/>
              </a:lnSpc>
              <a:spcAft>
                <a:spcPts val="1000"/>
              </a:spcAft>
              <a:buFont typeface="Wingdings" panose="05000000000000000000" pitchFamily="2" charset="2"/>
              <a:buChar char="à"/>
            </a:pPr>
            <a:endParaRPr lang="de-DE" sz="1400">
              <a:solidFill>
                <a:schemeClr val="tx2">
                  <a:lumMod val="75000"/>
                </a:schemeClr>
              </a:solidFill>
              <a:sym typeface="Wingdings" panose="05000000000000000000" pitchFamily="2" charset="2"/>
            </a:endParaRPr>
          </a:p>
          <a:p>
            <a:pPr algn="l">
              <a:lnSpc>
                <a:spcPct val="110000"/>
              </a:lnSpc>
              <a:spcAft>
                <a:spcPts val="1000"/>
              </a:spcAft>
            </a:pPr>
            <a:endParaRPr lang="de-DE" sz="1400">
              <a:solidFill>
                <a:schemeClr val="tx2">
                  <a:lumMod val="75000"/>
                </a:schemeClr>
              </a:solidFill>
              <a:sym typeface="Wingdings" panose="05000000000000000000" pitchFamily="2" charset="2"/>
            </a:endParaRPr>
          </a:p>
          <a:p>
            <a:pPr marL="285750" indent="-285750" algn="l">
              <a:lnSpc>
                <a:spcPct val="110000"/>
              </a:lnSpc>
              <a:spcAft>
                <a:spcPts val="1000"/>
              </a:spcAft>
              <a:buFont typeface="Wingdings" panose="05000000000000000000" pitchFamily="2" charset="2"/>
              <a:buChar char="à"/>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a:p>
            <a:pPr algn="l">
              <a:lnSpc>
                <a:spcPct val="110000"/>
              </a:lnSpc>
              <a:spcAft>
                <a:spcPts val="1000"/>
              </a:spcAft>
            </a:pPr>
            <a:endParaRPr lang="de-DE" sz="1400">
              <a:solidFill>
                <a:schemeClr val="tx2">
                  <a:lumMod val="75000"/>
                </a:schemeClr>
              </a:solidFill>
            </a:endParaRPr>
          </a:p>
        </p:txBody>
      </p:sp>
      <p:sp>
        <p:nvSpPr>
          <p:cNvPr id="2" name="Datumsplatzhalter 1">
            <a:extLst>
              <a:ext uri="{FF2B5EF4-FFF2-40B4-BE49-F238E27FC236}">
                <a16:creationId xmlns:a16="http://schemas.microsoft.com/office/drawing/2014/main" id="{67730E62-E9B5-F8D7-64F4-5A4B06661F13}"/>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5CA9FBB4-C6CD-81AB-EEF7-EFF15EBB9A34}"/>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9A75CBAE-4CDB-F9AB-A1F9-6DAFCDEA9D47}"/>
              </a:ext>
            </a:extLst>
          </p:cNvPr>
          <p:cNvSpPr>
            <a:spLocks noGrp="1"/>
          </p:cNvSpPr>
          <p:nvPr>
            <p:ph type="sldNum" sz="quarter" idx="12"/>
          </p:nvPr>
        </p:nvSpPr>
        <p:spPr/>
        <p:txBody>
          <a:bodyPr/>
          <a:lstStyle/>
          <a:p>
            <a:fld id="{02CEFE82-39F2-4F47-8A0C-D5AB3496FA5C}" type="slidenum">
              <a:rPr lang="de-DE" noProof="0" smtClean="0"/>
              <a:pPr/>
              <a:t>5</a:t>
            </a:fld>
            <a:endParaRPr lang="de-DE" noProof="0"/>
          </a:p>
        </p:txBody>
      </p:sp>
      <p:sp>
        <p:nvSpPr>
          <p:cNvPr id="5" name="Titel 4">
            <a:extLst>
              <a:ext uri="{FF2B5EF4-FFF2-40B4-BE49-F238E27FC236}">
                <a16:creationId xmlns:a16="http://schemas.microsoft.com/office/drawing/2014/main" id="{F1075CE7-E343-D82A-8112-B694EBA79A67}"/>
              </a:ext>
            </a:extLst>
          </p:cNvPr>
          <p:cNvSpPr>
            <a:spLocks noGrp="1"/>
          </p:cNvSpPr>
          <p:nvPr>
            <p:ph type="title"/>
          </p:nvPr>
        </p:nvSpPr>
        <p:spPr/>
        <p:txBody>
          <a:bodyPr vert="horz"/>
          <a:lstStyle/>
          <a:p>
            <a:r>
              <a:rPr lang="de-DE"/>
              <a:t>Klassifikation und Analyse von Zeitreihen</a:t>
            </a:r>
          </a:p>
        </p:txBody>
      </p:sp>
      <p:sp>
        <p:nvSpPr>
          <p:cNvPr id="9" name="Rechteck 8">
            <a:extLst>
              <a:ext uri="{FF2B5EF4-FFF2-40B4-BE49-F238E27FC236}">
                <a16:creationId xmlns:a16="http://schemas.microsoft.com/office/drawing/2014/main" id="{D10BBDAB-8EDA-289F-2CFF-67078B0DA620}"/>
              </a:ext>
            </a:extLst>
          </p:cNvPr>
          <p:cNvSpPr/>
          <p:nvPr/>
        </p:nvSpPr>
        <p:spPr>
          <a:xfrm>
            <a:off x="542926" y="1527951"/>
            <a:ext cx="3582894" cy="4253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Input: </a:t>
            </a:r>
            <a:r>
              <a:rPr lang="de-DE"/>
              <a:t>Time Series</a:t>
            </a:r>
          </a:p>
        </p:txBody>
      </p:sp>
      <p:sp>
        <p:nvSpPr>
          <p:cNvPr id="18" name="Rechteck 17">
            <a:extLst>
              <a:ext uri="{FF2B5EF4-FFF2-40B4-BE49-F238E27FC236}">
                <a16:creationId xmlns:a16="http://schemas.microsoft.com/office/drawing/2014/main" id="{1BE111F1-AB35-2DE9-1B7C-05F6331528B3}"/>
              </a:ext>
            </a:extLst>
          </p:cNvPr>
          <p:cNvSpPr/>
          <p:nvPr/>
        </p:nvSpPr>
        <p:spPr>
          <a:xfrm>
            <a:off x="1336826" y="5149846"/>
            <a:ext cx="10322605"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r>
              <a:rPr lang="de-DE" sz="1800">
                <a:solidFill>
                  <a:schemeClr val="tx1"/>
                </a:solidFill>
              </a:rPr>
              <a:t>Abstrakte Features und hohe Modellkomplexität sorgen für </a:t>
            </a:r>
            <a:r>
              <a:rPr lang="de-DE" sz="1800" b="1">
                <a:solidFill>
                  <a:schemeClr val="tx1"/>
                </a:solidFill>
              </a:rPr>
              <a:t>eingeschränkter Transparenz </a:t>
            </a:r>
            <a:r>
              <a:rPr lang="de-DE" sz="1800">
                <a:solidFill>
                  <a:schemeClr val="tx1"/>
                </a:solidFill>
              </a:rPr>
              <a:t>und</a:t>
            </a:r>
            <a:r>
              <a:rPr lang="de-DE">
                <a:solidFill>
                  <a:schemeClr val="tx1"/>
                </a:solidFill>
              </a:rPr>
              <a:t> </a:t>
            </a:r>
            <a:r>
              <a:rPr lang="de-DE" sz="1800" b="1">
                <a:solidFill>
                  <a:schemeClr val="tx1"/>
                </a:solidFill>
              </a:rPr>
              <a:t>Nachvollziehbarkeit</a:t>
            </a:r>
            <a:r>
              <a:rPr lang="de-DE" sz="1800">
                <a:solidFill>
                  <a:schemeClr val="tx1"/>
                </a:solidFill>
              </a:rPr>
              <a:t> in ML-Modellen (Black-Box Modell)</a:t>
            </a:r>
          </a:p>
        </p:txBody>
      </p:sp>
      <p:sp>
        <p:nvSpPr>
          <p:cNvPr id="21" name="Rechteck 20">
            <a:extLst>
              <a:ext uri="{FF2B5EF4-FFF2-40B4-BE49-F238E27FC236}">
                <a16:creationId xmlns:a16="http://schemas.microsoft.com/office/drawing/2014/main" id="{581436B9-DAE7-E189-C16A-638148874C03}"/>
              </a:ext>
            </a:extLst>
          </p:cNvPr>
          <p:cNvSpPr/>
          <p:nvPr/>
        </p:nvSpPr>
        <p:spPr>
          <a:xfrm>
            <a:off x="552757" y="5149845"/>
            <a:ext cx="784069"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endParaRPr lang="de-DE" sz="1800">
              <a:solidFill>
                <a:schemeClr val="tx1"/>
              </a:solidFill>
            </a:endParaRPr>
          </a:p>
        </p:txBody>
      </p:sp>
      <p:pic>
        <p:nvPicPr>
          <p:cNvPr id="23" name="Grafik 22" descr="Blitz mit einfarbiger Füllung">
            <a:extLst>
              <a:ext uri="{FF2B5EF4-FFF2-40B4-BE49-F238E27FC236}">
                <a16:creationId xmlns:a16="http://schemas.microsoft.com/office/drawing/2014/main" id="{4275A60E-1B9F-263B-099F-FBA666AF9C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8711" y="5291462"/>
            <a:ext cx="592271" cy="592271"/>
          </a:xfrm>
          <a:prstGeom prst="rect">
            <a:avLst/>
          </a:prstGeom>
        </p:spPr>
      </p:pic>
      <p:sp>
        <p:nvSpPr>
          <p:cNvPr id="24" name="Rechteck 23">
            <a:extLst>
              <a:ext uri="{FF2B5EF4-FFF2-40B4-BE49-F238E27FC236}">
                <a16:creationId xmlns:a16="http://schemas.microsoft.com/office/drawing/2014/main" id="{AC6C7460-F73B-7B38-8138-A97254BB973C}"/>
              </a:ext>
            </a:extLst>
          </p:cNvPr>
          <p:cNvSpPr/>
          <p:nvPr/>
        </p:nvSpPr>
        <p:spPr>
          <a:xfrm>
            <a:off x="4304816" y="1527951"/>
            <a:ext cx="3582894" cy="4253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err="1"/>
              <a:t>Machine</a:t>
            </a:r>
            <a:r>
              <a:rPr lang="de-DE"/>
              <a:t> Learning Models</a:t>
            </a:r>
          </a:p>
        </p:txBody>
      </p:sp>
      <p:sp>
        <p:nvSpPr>
          <p:cNvPr id="25" name="Rechteck 24">
            <a:extLst>
              <a:ext uri="{FF2B5EF4-FFF2-40B4-BE49-F238E27FC236}">
                <a16:creationId xmlns:a16="http://schemas.microsoft.com/office/drawing/2014/main" id="{5440EED3-7894-BEFA-BE4C-24D545EF6FAE}"/>
              </a:ext>
            </a:extLst>
          </p:cNvPr>
          <p:cNvSpPr/>
          <p:nvPr/>
        </p:nvSpPr>
        <p:spPr>
          <a:xfrm>
            <a:off x="8066706" y="1527950"/>
            <a:ext cx="3582894" cy="4253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Output: </a:t>
            </a:r>
            <a:r>
              <a:rPr lang="de-DE"/>
              <a:t>Classification</a:t>
            </a:r>
          </a:p>
        </p:txBody>
      </p:sp>
      <p:sp>
        <p:nvSpPr>
          <p:cNvPr id="26" name="Textfeld 25">
            <a:extLst>
              <a:ext uri="{FF2B5EF4-FFF2-40B4-BE49-F238E27FC236}">
                <a16:creationId xmlns:a16="http://schemas.microsoft.com/office/drawing/2014/main" id="{550A7D79-1C4E-EE05-796A-0F19B83D19E5}"/>
              </a:ext>
            </a:extLst>
          </p:cNvPr>
          <p:cNvSpPr txBox="1"/>
          <p:nvPr/>
        </p:nvSpPr>
        <p:spPr>
          <a:xfrm>
            <a:off x="638879" y="2044255"/>
            <a:ext cx="3484828" cy="1543770"/>
          </a:xfrm>
          <a:prstGeom prst="rect">
            <a:avLst/>
          </a:prstGeom>
          <a:solidFill>
            <a:schemeClr val="bg1"/>
          </a:solidFill>
        </p:spPr>
        <p:txBody>
          <a:bodyPr wrap="square" lIns="0" tIns="0" rIns="0" bIns="0" rtlCol="0">
            <a:noAutofit/>
          </a:bodyPr>
          <a:lstStyle/>
          <a:p>
            <a:pPr algn="l">
              <a:lnSpc>
                <a:spcPct val="110000"/>
              </a:lnSpc>
              <a:spcAft>
                <a:spcPts val="1000"/>
              </a:spcAft>
            </a:pPr>
            <a:endParaRPr lang="de-DE" sz="1400">
              <a:solidFill>
                <a:schemeClr val="tx2">
                  <a:lumMod val="75000"/>
                </a:schemeClr>
              </a:solidFill>
            </a:endParaRPr>
          </a:p>
        </p:txBody>
      </p:sp>
      <p:sp>
        <p:nvSpPr>
          <p:cNvPr id="28" name="Textfeld 27">
            <a:extLst>
              <a:ext uri="{FF2B5EF4-FFF2-40B4-BE49-F238E27FC236}">
                <a16:creationId xmlns:a16="http://schemas.microsoft.com/office/drawing/2014/main" id="{2C1298F3-0A93-A1AA-D8FE-7204E7694AD9}"/>
              </a:ext>
            </a:extLst>
          </p:cNvPr>
          <p:cNvSpPr txBox="1"/>
          <p:nvPr/>
        </p:nvSpPr>
        <p:spPr>
          <a:xfrm>
            <a:off x="8149850" y="2045402"/>
            <a:ext cx="3506678" cy="716414"/>
          </a:xfrm>
          <a:prstGeom prst="rect">
            <a:avLst/>
          </a:prstGeom>
          <a:solidFill>
            <a:schemeClr val="bg1"/>
          </a:solidFill>
        </p:spPr>
        <p:txBody>
          <a:bodyPr wrap="square" lIns="0" tIns="0" rIns="0" bIns="0" rtlCol="0">
            <a:noAutofit/>
          </a:bodyPr>
          <a:lstStyle/>
          <a:p>
            <a:pPr>
              <a:lnSpc>
                <a:spcPct val="110000"/>
              </a:lnSpc>
              <a:spcAft>
                <a:spcPts val="1000"/>
              </a:spcAft>
            </a:pPr>
            <a:r>
              <a:rPr lang="de-DE" sz="1400">
                <a:solidFill>
                  <a:schemeClr val="tx2">
                    <a:lumMod val="75000"/>
                  </a:schemeClr>
                </a:solidFill>
              </a:rPr>
              <a:t>Modell kann mithilfe der Testdaten evaluiert werden</a:t>
            </a:r>
          </a:p>
        </p:txBody>
      </p:sp>
      <p:sp>
        <p:nvSpPr>
          <p:cNvPr id="29" name="Textfeld 28">
            <a:extLst>
              <a:ext uri="{FF2B5EF4-FFF2-40B4-BE49-F238E27FC236}">
                <a16:creationId xmlns:a16="http://schemas.microsoft.com/office/drawing/2014/main" id="{853938C1-2D4B-9EF2-AC75-5772DC56AFFC}"/>
              </a:ext>
            </a:extLst>
          </p:cNvPr>
          <p:cNvSpPr txBox="1"/>
          <p:nvPr/>
        </p:nvSpPr>
        <p:spPr>
          <a:xfrm>
            <a:off x="4383157" y="2045401"/>
            <a:ext cx="3506678" cy="961781"/>
          </a:xfrm>
          <a:prstGeom prst="rect">
            <a:avLst/>
          </a:prstGeom>
          <a:solidFill>
            <a:schemeClr val="bg1"/>
          </a:solidFill>
        </p:spPr>
        <p:txBody>
          <a:bodyPr wrap="square" lIns="0" tIns="0" rIns="0" bIns="0" rtlCol="0">
            <a:noAutofit/>
          </a:bodyPr>
          <a:lstStyle/>
          <a:p>
            <a:pPr>
              <a:lnSpc>
                <a:spcPct val="110000"/>
              </a:lnSpc>
              <a:spcAft>
                <a:spcPts val="1000"/>
              </a:spcAft>
            </a:pPr>
            <a:r>
              <a:rPr lang="de-DE" sz="1400">
                <a:solidFill>
                  <a:schemeClr val="tx2">
                    <a:lumMod val="75000"/>
                  </a:schemeClr>
                </a:solidFill>
              </a:rPr>
              <a:t>Modelle, die aus Daten lernen und Vorhersagen treffen können.</a:t>
            </a:r>
          </a:p>
          <a:p>
            <a:pPr>
              <a:lnSpc>
                <a:spcPct val="110000"/>
              </a:lnSpc>
              <a:spcAft>
                <a:spcPts val="1000"/>
              </a:spcAft>
            </a:pPr>
            <a:r>
              <a:rPr lang="de-DE" sz="1400">
                <a:solidFill>
                  <a:schemeClr val="tx2">
                    <a:lumMod val="75000"/>
                  </a:schemeClr>
                </a:solidFill>
              </a:rPr>
              <a:t>In Bezug auf Zeitreihen meint dies die Klassifikation von Zeitreihen </a:t>
            </a:r>
          </a:p>
          <a:p>
            <a:pPr algn="l">
              <a:lnSpc>
                <a:spcPct val="110000"/>
              </a:lnSpc>
              <a:spcAft>
                <a:spcPts val="1000"/>
              </a:spcAft>
            </a:pPr>
            <a:endParaRPr lang="de-DE" sz="1400">
              <a:solidFill>
                <a:schemeClr val="tx2">
                  <a:lumMod val="75000"/>
                </a:schemeClr>
              </a:solidFill>
            </a:endParaRPr>
          </a:p>
        </p:txBody>
      </p:sp>
      <p:sp>
        <p:nvSpPr>
          <p:cNvPr id="30" name="Textfeld 29">
            <a:extLst>
              <a:ext uri="{FF2B5EF4-FFF2-40B4-BE49-F238E27FC236}">
                <a16:creationId xmlns:a16="http://schemas.microsoft.com/office/drawing/2014/main" id="{BD250E4D-685F-E599-EA0F-FF64295A8DE9}"/>
              </a:ext>
            </a:extLst>
          </p:cNvPr>
          <p:cNvSpPr txBox="1"/>
          <p:nvPr/>
        </p:nvSpPr>
        <p:spPr>
          <a:xfrm>
            <a:off x="4383157" y="3421132"/>
            <a:ext cx="3659078" cy="991798"/>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Einfaches CNN</a:t>
            </a:r>
          </a:p>
          <a:p>
            <a:pPr>
              <a:lnSpc>
                <a:spcPct val="110000"/>
              </a:lnSpc>
              <a:spcAft>
                <a:spcPts val="1000"/>
              </a:spcAft>
            </a:pPr>
            <a:r>
              <a:rPr lang="de-DE" sz="1400">
                <a:solidFill>
                  <a:schemeClr val="tx2">
                    <a:lumMod val="75000"/>
                  </a:schemeClr>
                </a:solidFill>
                <a:sym typeface="Wingdings" panose="05000000000000000000" pitchFamily="2" charset="2"/>
              </a:rPr>
              <a:t>Anwendung im Bereich Computer Vision bei Bilderkennung (2D).</a:t>
            </a:r>
          </a:p>
          <a:p>
            <a:pPr>
              <a:lnSpc>
                <a:spcPct val="110000"/>
              </a:lnSpc>
              <a:spcAft>
                <a:spcPts val="1000"/>
              </a:spcAft>
            </a:pPr>
            <a:r>
              <a:rPr lang="de-DE" sz="1400">
                <a:solidFill>
                  <a:schemeClr val="tx2">
                    <a:lumMod val="75000"/>
                  </a:schemeClr>
                </a:solidFill>
                <a:sym typeface="Wingdings" panose="05000000000000000000" pitchFamily="2" charset="2"/>
              </a:rPr>
              <a:t>Hier: auf Zeitreihen-Use Case anwenden (1D) </a:t>
            </a:r>
            <a:br>
              <a:rPr lang="de-DE" sz="1400">
                <a:solidFill>
                  <a:schemeClr val="tx2">
                    <a:lumMod val="75000"/>
                  </a:schemeClr>
                </a:solidFill>
                <a:sym typeface="Wingdings" panose="05000000000000000000" pitchFamily="2" charset="2"/>
              </a:rPr>
            </a:br>
            <a:r>
              <a:rPr lang="de-DE" sz="1400">
                <a:solidFill>
                  <a:schemeClr val="tx2">
                    <a:lumMod val="75000"/>
                  </a:schemeClr>
                </a:solidFill>
                <a:sym typeface="Wingdings" panose="05000000000000000000" pitchFamily="2" charset="2"/>
              </a:rPr>
              <a:t> Zeitreihe = “eindimensionales Bild“</a:t>
            </a:r>
          </a:p>
          <a:p>
            <a:pPr>
              <a:lnSpc>
                <a:spcPct val="110000"/>
              </a:lnSpc>
              <a:spcAft>
                <a:spcPts val="1000"/>
              </a:spcAft>
            </a:pPr>
            <a:endParaRPr lang="de-DE" sz="1400">
              <a:solidFill>
                <a:schemeClr val="tx2">
                  <a:lumMod val="75000"/>
                </a:schemeClr>
              </a:solidFill>
            </a:endParaRPr>
          </a:p>
        </p:txBody>
      </p:sp>
      <p:sp>
        <p:nvSpPr>
          <p:cNvPr id="33" name="Textfeld 32">
            <a:extLst>
              <a:ext uri="{FF2B5EF4-FFF2-40B4-BE49-F238E27FC236}">
                <a16:creationId xmlns:a16="http://schemas.microsoft.com/office/drawing/2014/main" id="{5A6E4C36-4C65-5332-3D6E-391F04E99022}"/>
              </a:ext>
            </a:extLst>
          </p:cNvPr>
          <p:cNvSpPr txBox="1"/>
          <p:nvPr/>
        </p:nvSpPr>
        <p:spPr>
          <a:xfrm>
            <a:off x="638879" y="3419933"/>
            <a:ext cx="3506678" cy="991798"/>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Coffee Dataset</a:t>
            </a:r>
            <a:endParaRPr lang="de-DE" sz="1400">
              <a:solidFill>
                <a:schemeClr val="tx2">
                  <a:lumMod val="75000"/>
                </a:schemeClr>
              </a:solidFill>
            </a:endParaRPr>
          </a:p>
        </p:txBody>
      </p:sp>
      <p:sp>
        <p:nvSpPr>
          <p:cNvPr id="34" name="Textfeld 33">
            <a:extLst>
              <a:ext uri="{FF2B5EF4-FFF2-40B4-BE49-F238E27FC236}">
                <a16:creationId xmlns:a16="http://schemas.microsoft.com/office/drawing/2014/main" id="{D82DA4CF-361D-DF47-9984-766943879F1B}"/>
              </a:ext>
            </a:extLst>
          </p:cNvPr>
          <p:cNvSpPr txBox="1"/>
          <p:nvPr/>
        </p:nvSpPr>
        <p:spPr>
          <a:xfrm>
            <a:off x="8149850" y="3421132"/>
            <a:ext cx="3506678" cy="991798"/>
          </a:xfrm>
          <a:prstGeom prst="rect">
            <a:avLst/>
          </a:prstGeom>
          <a:solidFill>
            <a:schemeClr val="bg1"/>
          </a:solidFill>
        </p:spPr>
        <p:txBody>
          <a:bodyPr wrap="square" lIns="0" tIns="0" rIns="0" bIns="0" rtlCol="0">
            <a:noAutofit/>
          </a:bodyPr>
          <a:lstStyle/>
          <a:p>
            <a:pPr>
              <a:lnSpc>
                <a:spcPct val="110000"/>
              </a:lnSpc>
              <a:spcAft>
                <a:spcPts val="1000"/>
              </a:spcAft>
            </a:pPr>
            <a:r>
              <a:rPr lang="de-DE" sz="1400">
                <a:solidFill>
                  <a:schemeClr val="tx2">
                    <a:lumMod val="75000"/>
                  </a:schemeClr>
                </a:solidFill>
              </a:rPr>
              <a:t>Sehr </a:t>
            </a:r>
            <a:r>
              <a:rPr lang="de-DE" sz="1400" b="1">
                <a:solidFill>
                  <a:schemeClr val="tx2">
                    <a:lumMod val="75000"/>
                  </a:schemeClr>
                </a:solidFill>
              </a:rPr>
              <a:t>zuverlässiges Modell</a:t>
            </a:r>
            <a:r>
              <a:rPr lang="de-DE" sz="1400">
                <a:solidFill>
                  <a:schemeClr val="tx2">
                    <a:lumMod val="75000"/>
                  </a:schemeClr>
                </a:solidFill>
              </a:rPr>
              <a:t>, Klassifikation mit sehr hoher </a:t>
            </a:r>
            <a:r>
              <a:rPr lang="de-DE" sz="1400" err="1">
                <a:solidFill>
                  <a:schemeClr val="tx2">
                    <a:lumMod val="75000"/>
                  </a:schemeClr>
                </a:solidFill>
              </a:rPr>
              <a:t>Accuracy</a:t>
            </a:r>
            <a:endParaRPr lang="de-DE" sz="1400">
              <a:solidFill>
                <a:schemeClr val="tx2">
                  <a:lumMod val="75000"/>
                </a:schemeClr>
              </a:solidFill>
            </a:endParaRPr>
          </a:p>
        </p:txBody>
      </p:sp>
      <p:cxnSp>
        <p:nvCxnSpPr>
          <p:cNvPr id="38" name="Gerader Verbinder 37">
            <a:extLst>
              <a:ext uri="{FF2B5EF4-FFF2-40B4-BE49-F238E27FC236}">
                <a16:creationId xmlns:a16="http://schemas.microsoft.com/office/drawing/2014/main" id="{BA4B244B-DB06-7978-7789-32372F6E0077}"/>
              </a:ext>
            </a:extLst>
          </p:cNvPr>
          <p:cNvCxnSpPr>
            <a:cxnSpLocks/>
          </p:cNvCxnSpPr>
          <p:nvPr/>
        </p:nvCxnSpPr>
        <p:spPr>
          <a:xfrm>
            <a:off x="4306941" y="3359824"/>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5E421305-49BC-EFC9-1C0E-EB9ABDED7585}"/>
              </a:ext>
            </a:extLst>
          </p:cNvPr>
          <p:cNvCxnSpPr>
            <a:cxnSpLocks/>
          </p:cNvCxnSpPr>
          <p:nvPr/>
        </p:nvCxnSpPr>
        <p:spPr>
          <a:xfrm flipV="1">
            <a:off x="552757" y="3359824"/>
            <a:ext cx="3570950" cy="12526"/>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F037BBAC-81C2-3F7B-2529-988E7984CCF5}"/>
              </a:ext>
            </a:extLst>
          </p:cNvPr>
          <p:cNvCxnSpPr>
            <a:cxnSpLocks/>
          </p:cNvCxnSpPr>
          <p:nvPr/>
        </p:nvCxnSpPr>
        <p:spPr>
          <a:xfrm>
            <a:off x="8042235" y="3359824"/>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pic>
        <p:nvPicPr>
          <p:cNvPr id="63" name="Grafik 62">
            <a:extLst>
              <a:ext uri="{FF2B5EF4-FFF2-40B4-BE49-F238E27FC236}">
                <a16:creationId xmlns:a16="http://schemas.microsoft.com/office/drawing/2014/main" id="{C47D0619-2B01-E62F-5D80-0933FC75D43E}"/>
              </a:ext>
            </a:extLst>
          </p:cNvPr>
          <p:cNvPicPr>
            <a:picLocks noChangeAspect="1"/>
          </p:cNvPicPr>
          <p:nvPr/>
        </p:nvPicPr>
        <p:blipFill>
          <a:blip r:embed="rId7"/>
          <a:stretch>
            <a:fillRect/>
          </a:stretch>
        </p:blipFill>
        <p:spPr>
          <a:xfrm>
            <a:off x="2013958" y="2445332"/>
            <a:ext cx="1519092" cy="703283"/>
          </a:xfrm>
          <a:prstGeom prst="rect">
            <a:avLst/>
          </a:prstGeom>
          <a:ln>
            <a:solidFill>
              <a:schemeClr val="tx1"/>
            </a:solidFill>
          </a:ln>
          <a:effectLst>
            <a:outerShdw blurRad="50800" dist="38100" dir="2700000" algn="tl" rotWithShape="0">
              <a:prstClr val="black">
                <a:alpha val="40000"/>
              </a:prstClr>
            </a:outerShdw>
          </a:effectLst>
        </p:spPr>
      </p:pic>
      <p:pic>
        <p:nvPicPr>
          <p:cNvPr id="67" name="Grafik 66">
            <a:extLst>
              <a:ext uri="{FF2B5EF4-FFF2-40B4-BE49-F238E27FC236}">
                <a16:creationId xmlns:a16="http://schemas.microsoft.com/office/drawing/2014/main" id="{5957B3EA-0626-890A-F4E3-DA47D8938EE5}"/>
              </a:ext>
            </a:extLst>
          </p:cNvPr>
          <p:cNvPicPr>
            <a:picLocks noChangeAspect="1"/>
          </p:cNvPicPr>
          <p:nvPr/>
        </p:nvPicPr>
        <p:blipFill>
          <a:blip r:embed="rId8"/>
          <a:stretch>
            <a:fillRect/>
          </a:stretch>
        </p:blipFill>
        <p:spPr>
          <a:xfrm>
            <a:off x="1457836" y="2275021"/>
            <a:ext cx="1484556" cy="749887"/>
          </a:xfrm>
          <a:prstGeom prst="rect">
            <a:avLst/>
          </a:prstGeom>
          <a:ln>
            <a:solidFill>
              <a:schemeClr val="tx1"/>
            </a:solidFill>
          </a:ln>
          <a:effectLst>
            <a:outerShdw blurRad="50800" dist="38100" dir="2700000" algn="tl" rotWithShape="0">
              <a:prstClr val="black">
                <a:alpha val="40000"/>
              </a:prstClr>
            </a:outerShdw>
          </a:effectLst>
        </p:spPr>
      </p:pic>
      <p:pic>
        <p:nvPicPr>
          <p:cNvPr id="70" name="Grafik 69">
            <a:extLst>
              <a:ext uri="{FF2B5EF4-FFF2-40B4-BE49-F238E27FC236}">
                <a16:creationId xmlns:a16="http://schemas.microsoft.com/office/drawing/2014/main" id="{A8C17396-A63B-A56C-4044-56F59A86565C}"/>
              </a:ext>
            </a:extLst>
          </p:cNvPr>
          <p:cNvPicPr>
            <a:picLocks noChangeAspect="1"/>
          </p:cNvPicPr>
          <p:nvPr/>
        </p:nvPicPr>
        <p:blipFill>
          <a:blip r:embed="rId9"/>
          <a:stretch>
            <a:fillRect/>
          </a:stretch>
        </p:blipFill>
        <p:spPr>
          <a:xfrm>
            <a:off x="906967" y="2129834"/>
            <a:ext cx="1499773" cy="749887"/>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78108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6A91A6-5CEC-9AF9-05D3-0A6EF8F2F7A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3153BD1-E005-51CE-E779-539A24D580DD}"/>
              </a:ext>
            </a:extLst>
          </p:cNvPr>
          <p:cNvGraphicFramePr>
            <a:graphicFrameLocks noChangeAspect="1"/>
          </p:cNvGraphicFramePr>
          <p:nvPr>
            <p:custDataLst>
              <p:tags r:id="rId1"/>
            </p:custDataLst>
            <p:extLst>
              <p:ext uri="{D42A27DB-BD31-4B8C-83A1-F6EECF244321}">
                <p14:modId xmlns:p14="http://schemas.microsoft.com/office/powerpoint/2010/main" val="739138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A3153BD1-E005-51CE-E779-539A24D580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2" name="Titel 4">
            <a:extLst>
              <a:ext uri="{FF2B5EF4-FFF2-40B4-BE49-F238E27FC236}">
                <a16:creationId xmlns:a16="http://schemas.microsoft.com/office/drawing/2014/main" id="{9E136C3F-3D37-ED3E-59FC-E766C9BBB228}"/>
              </a:ext>
            </a:extLst>
          </p:cNvPr>
          <p:cNvSpPr txBox="1">
            <a:spLocks/>
          </p:cNvSpPr>
          <p:nvPr/>
        </p:nvSpPr>
        <p:spPr bwMode="gray">
          <a:xfrm>
            <a:off x="540000" y="432000"/>
            <a:ext cx="10232222" cy="539685"/>
          </a:xfrm>
          <a:prstGeom prst="rect">
            <a:avLst/>
          </a:prstGeom>
        </p:spPr>
        <p:txBody>
          <a:bodyPr vert="horz" lIns="0" tIns="0" rIns="0" bIns="0" rtlCol="0" anchor="t">
            <a:noAutofit/>
          </a:bodyPr>
          <a:lstStyle>
            <a:lvl1pPr marL="0" indent="0" algn="l" defTabSz="914400" rtl="0" eaLnBrk="1" latinLnBrk="0" hangingPunct="1">
              <a:lnSpc>
                <a:spcPct val="90000"/>
              </a:lnSpc>
              <a:spcBef>
                <a:spcPct val="0"/>
              </a:spcBef>
              <a:buClr>
                <a:srgbClr val="0E2356"/>
              </a:buClr>
              <a:buSzPct val="110000"/>
              <a:buFont typeface="Source Sans Pro SemiBold" panose="020B0603030403020204" pitchFamily="34" charset="0"/>
              <a:buNone/>
              <a:defRPr sz="3600" b="1" kern="1200">
                <a:solidFill>
                  <a:srgbClr val="0E2356"/>
                </a:solidFill>
                <a:latin typeface="Source Sans Pro" panose="020B0503030403020204" pitchFamily="34" charset="0"/>
                <a:ea typeface="Source Sans Pro" panose="020B0503030403020204" pitchFamily="34" charset="0"/>
                <a:cs typeface="+mj-cs"/>
              </a:defRPr>
            </a:lvl1pPr>
          </a:lstStyle>
          <a:p>
            <a:r>
              <a:rPr lang="de-DE"/>
              <a:t>Pattern </a:t>
            </a:r>
            <a:r>
              <a:rPr lang="de-DE" err="1"/>
              <a:t>Extraction</a:t>
            </a:r>
            <a:endParaRPr lang="de-DE"/>
          </a:p>
        </p:txBody>
      </p:sp>
      <p:sp>
        <p:nvSpPr>
          <p:cNvPr id="2" name="Datumsplatzhalter 1">
            <a:extLst>
              <a:ext uri="{FF2B5EF4-FFF2-40B4-BE49-F238E27FC236}">
                <a16:creationId xmlns:a16="http://schemas.microsoft.com/office/drawing/2014/main" id="{7C11B939-2342-78A1-A0A7-C86EDF4F6BA9}"/>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E61FFF72-4E8C-9611-68DE-58B58F769CC7}"/>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5050C6C9-33A5-7788-D440-FD8F55CBDF6A}"/>
              </a:ext>
            </a:extLst>
          </p:cNvPr>
          <p:cNvSpPr>
            <a:spLocks noGrp="1"/>
          </p:cNvSpPr>
          <p:nvPr>
            <p:ph type="sldNum" sz="quarter" idx="12"/>
          </p:nvPr>
        </p:nvSpPr>
        <p:spPr/>
        <p:txBody>
          <a:bodyPr/>
          <a:lstStyle/>
          <a:p>
            <a:fld id="{02CEFE82-39F2-4F47-8A0C-D5AB3496FA5C}" type="slidenum">
              <a:rPr lang="de-DE" noProof="0" smtClean="0"/>
              <a:pPr/>
              <a:t>6</a:t>
            </a:fld>
            <a:endParaRPr lang="de-DE" noProof="0"/>
          </a:p>
        </p:txBody>
      </p:sp>
      <p:sp>
        <p:nvSpPr>
          <p:cNvPr id="17" name="Textfeld 16">
            <a:extLst>
              <a:ext uri="{FF2B5EF4-FFF2-40B4-BE49-F238E27FC236}">
                <a16:creationId xmlns:a16="http://schemas.microsoft.com/office/drawing/2014/main" id="{9592ABA0-F22C-1EDD-8838-2B2601932760}"/>
              </a:ext>
            </a:extLst>
          </p:cNvPr>
          <p:cNvSpPr txBox="1"/>
          <p:nvPr/>
        </p:nvSpPr>
        <p:spPr>
          <a:xfrm>
            <a:off x="559703" y="1169414"/>
            <a:ext cx="10752490" cy="501753"/>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Neuer Ansatz</a:t>
            </a:r>
            <a:r>
              <a:rPr lang="de-DE" sz="1400">
                <a:solidFill>
                  <a:schemeClr val="tx2">
                    <a:lumMod val="75000"/>
                  </a:schemeClr>
                </a:solidFill>
              </a:rPr>
              <a:t>: Pattern Extractor auf Zeitreihen anwenden, um Muster (</a:t>
            </a:r>
            <a:r>
              <a:rPr lang="de-DE" sz="1400" err="1">
                <a:solidFill>
                  <a:schemeClr val="tx2">
                    <a:lumMod val="75000"/>
                  </a:schemeClr>
                </a:solidFill>
              </a:rPr>
              <a:t>Shapelets</a:t>
            </a:r>
            <a:r>
              <a:rPr lang="de-DE" sz="1400">
                <a:solidFill>
                  <a:schemeClr val="tx2">
                    <a:lumMod val="75000"/>
                  </a:schemeClr>
                </a:solidFill>
              </a:rPr>
              <a:t>) zu identifizieren, </a:t>
            </a:r>
            <a:r>
              <a:rPr lang="de-DE" sz="1400">
                <a:solidFill>
                  <a:schemeClr val="tx2">
                    <a:lumMod val="75000"/>
                  </a:schemeClr>
                </a:solidFill>
                <a:sym typeface="Wingdings" panose="05000000000000000000" pitchFamily="2" charset="2"/>
              </a:rPr>
              <a:t>die für die </a:t>
            </a:r>
            <a:r>
              <a:rPr lang="de-DE" sz="1400" err="1">
                <a:solidFill>
                  <a:schemeClr val="tx2">
                    <a:lumMod val="75000"/>
                  </a:schemeClr>
                </a:solidFill>
                <a:sym typeface="Wingdings" panose="05000000000000000000" pitchFamily="2" charset="2"/>
              </a:rPr>
              <a:t>Klassfikation</a:t>
            </a:r>
            <a:r>
              <a:rPr lang="de-DE" sz="1400">
                <a:solidFill>
                  <a:schemeClr val="tx2">
                    <a:lumMod val="75000"/>
                  </a:schemeClr>
                </a:solidFill>
                <a:sym typeface="Wingdings" panose="05000000000000000000" pitchFamily="2" charset="2"/>
              </a:rPr>
              <a:t> von</a:t>
            </a:r>
            <a:br>
              <a:rPr lang="de-DE" sz="1400">
                <a:solidFill>
                  <a:schemeClr val="tx2">
                    <a:lumMod val="75000"/>
                  </a:schemeClr>
                </a:solidFill>
                <a:sym typeface="Wingdings" panose="05000000000000000000" pitchFamily="2" charset="2"/>
              </a:rPr>
            </a:br>
            <a:r>
              <a:rPr lang="de-DE" sz="1400">
                <a:solidFill>
                  <a:schemeClr val="tx2">
                    <a:lumMod val="75000"/>
                  </a:schemeClr>
                </a:solidFill>
                <a:sym typeface="Wingdings" panose="05000000000000000000" pitchFamily="2" charset="2"/>
              </a:rPr>
              <a:t> 	     </a:t>
            </a:r>
            <a:r>
              <a:rPr lang="de-DE" sz="1400" err="1">
                <a:solidFill>
                  <a:schemeClr val="bg1"/>
                </a:solidFill>
                <a:sym typeface="Wingdings" panose="05000000000000000000" pitchFamily="2" charset="2"/>
              </a:rPr>
              <a:t>ii</a:t>
            </a:r>
            <a:r>
              <a:rPr lang="de-DE" sz="1400" err="1">
                <a:solidFill>
                  <a:schemeClr val="tx2">
                    <a:lumMod val="75000"/>
                  </a:schemeClr>
                </a:solidFill>
                <a:sym typeface="Wingdings" panose="05000000000000000000" pitchFamily="2" charset="2"/>
              </a:rPr>
              <a:t>Zeitreihen</a:t>
            </a:r>
            <a:r>
              <a:rPr lang="de-DE" sz="1400">
                <a:solidFill>
                  <a:schemeClr val="tx2">
                    <a:lumMod val="75000"/>
                  </a:schemeClr>
                </a:solidFill>
                <a:sym typeface="Wingdings" panose="05000000000000000000" pitchFamily="2" charset="2"/>
              </a:rPr>
              <a:t> wichtig sind. </a:t>
            </a: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br>
              <a:rPr lang="de-DE" sz="1400">
                <a:solidFill>
                  <a:schemeClr val="tx2">
                    <a:lumMod val="75000"/>
                  </a:schemeClr>
                </a:solidFill>
                <a:sym typeface="Wingdings" panose="05000000000000000000" pitchFamily="2" charset="2"/>
              </a:rPr>
            </a:b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p:txBody>
      </p:sp>
      <p:pic>
        <p:nvPicPr>
          <p:cNvPr id="47" name="Grafik 46">
            <a:extLst>
              <a:ext uri="{FF2B5EF4-FFF2-40B4-BE49-F238E27FC236}">
                <a16:creationId xmlns:a16="http://schemas.microsoft.com/office/drawing/2014/main" id="{8DC6242D-7430-4849-273D-0771A994CFA4}"/>
              </a:ext>
            </a:extLst>
          </p:cNvPr>
          <p:cNvPicPr>
            <a:picLocks noChangeAspect="1"/>
          </p:cNvPicPr>
          <p:nvPr/>
        </p:nvPicPr>
        <p:blipFill>
          <a:blip r:embed="rId5"/>
          <a:stretch>
            <a:fillRect/>
          </a:stretch>
        </p:blipFill>
        <p:spPr>
          <a:xfrm>
            <a:off x="669055" y="2379630"/>
            <a:ext cx="4895957" cy="2335507"/>
          </a:xfrm>
          <a:prstGeom prst="rect">
            <a:avLst/>
          </a:prstGeom>
        </p:spPr>
      </p:pic>
      <p:sp>
        <p:nvSpPr>
          <p:cNvPr id="48" name="Textfeld 47">
            <a:extLst>
              <a:ext uri="{FF2B5EF4-FFF2-40B4-BE49-F238E27FC236}">
                <a16:creationId xmlns:a16="http://schemas.microsoft.com/office/drawing/2014/main" id="{F97656B5-C3BE-5D8E-D4BB-FC7002E8C6A9}"/>
              </a:ext>
            </a:extLst>
          </p:cNvPr>
          <p:cNvSpPr txBox="1"/>
          <p:nvPr/>
        </p:nvSpPr>
        <p:spPr>
          <a:xfrm>
            <a:off x="8064894" y="373246"/>
            <a:ext cx="2226366" cy="387807"/>
          </a:xfrm>
          <a:prstGeom prst="rect">
            <a:avLst/>
          </a:prstGeom>
          <a:solidFill>
            <a:schemeClr val="bg1"/>
          </a:solidFill>
        </p:spPr>
        <p:txBody>
          <a:bodyPr wrap="square" lIns="0" tIns="0" rIns="0" bIns="0" rtlCol="0">
            <a:noAutofit/>
          </a:bodyPr>
          <a:lstStyle/>
          <a:p>
            <a:pPr algn="l">
              <a:lnSpc>
                <a:spcPct val="110000"/>
              </a:lnSpc>
              <a:spcAft>
                <a:spcPts val="1000"/>
              </a:spcAft>
            </a:pPr>
            <a:endParaRPr lang="de-DE">
              <a:solidFill>
                <a:schemeClr val="tx2">
                  <a:lumMod val="75000"/>
                </a:schemeClr>
              </a:solidFill>
            </a:endParaRPr>
          </a:p>
        </p:txBody>
      </p:sp>
      <p:sp>
        <p:nvSpPr>
          <p:cNvPr id="49" name="Textfeld 48">
            <a:extLst>
              <a:ext uri="{FF2B5EF4-FFF2-40B4-BE49-F238E27FC236}">
                <a16:creationId xmlns:a16="http://schemas.microsoft.com/office/drawing/2014/main" id="{EB5AB083-90FE-4B0C-F665-FA90919F4F49}"/>
              </a:ext>
            </a:extLst>
          </p:cNvPr>
          <p:cNvSpPr txBox="1"/>
          <p:nvPr/>
        </p:nvSpPr>
        <p:spPr>
          <a:xfrm>
            <a:off x="6428259" y="2295358"/>
            <a:ext cx="4390257" cy="1903017"/>
          </a:xfrm>
          <a:prstGeom prst="rect">
            <a:avLst/>
          </a:prstGeom>
          <a:noFill/>
        </p:spPr>
        <p:txBody>
          <a:bodyPr wrap="square" lIns="0" tIns="0" rIns="0" bIns="0" rtlCol="0">
            <a:noAutofit/>
          </a:bodyPr>
          <a:lstStyle/>
          <a:p>
            <a:pPr>
              <a:lnSpc>
                <a:spcPct val="110000"/>
              </a:lnSpc>
              <a:spcAft>
                <a:spcPts val="1000"/>
              </a:spcAft>
            </a:pPr>
            <a:r>
              <a:rPr lang="de-DE" sz="1400" b="1">
                <a:solidFill>
                  <a:schemeClr val="tx2">
                    <a:lumMod val="75000"/>
                  </a:schemeClr>
                </a:solidFill>
                <a:sym typeface="Wingdings" panose="05000000000000000000" pitchFamily="2" charset="2"/>
              </a:rPr>
              <a:t>1. Learning </a:t>
            </a:r>
            <a:r>
              <a:rPr lang="de-DE" sz="1400" b="1" err="1">
                <a:solidFill>
                  <a:schemeClr val="tx2">
                    <a:lumMod val="75000"/>
                  </a:schemeClr>
                </a:solidFill>
                <a:sym typeface="Wingdings" panose="05000000000000000000" pitchFamily="2" charset="2"/>
              </a:rPr>
              <a:t>Shapelets</a:t>
            </a:r>
            <a:endParaRPr lang="de-DE" sz="1400" b="1">
              <a:solidFill>
                <a:schemeClr val="tx2">
                  <a:lumMod val="75000"/>
                </a:schemeClr>
              </a:solidFill>
              <a:sym typeface="Wingdings" panose="05000000000000000000" pitchFamily="2" charset="2"/>
            </a:endParaRPr>
          </a:p>
          <a:p>
            <a:pPr>
              <a:lnSpc>
                <a:spcPct val="110000"/>
              </a:lnSpc>
              <a:spcAft>
                <a:spcPts val="1000"/>
              </a:spcAft>
            </a:pPr>
            <a:r>
              <a:rPr lang="de-DE" sz="1400">
                <a:solidFill>
                  <a:schemeClr val="tx2">
                    <a:lumMod val="75000"/>
                  </a:schemeClr>
                </a:solidFill>
                <a:sym typeface="Wingdings" panose="05000000000000000000" pitchFamily="2" charset="2"/>
              </a:rPr>
              <a:t>2. </a:t>
            </a:r>
            <a:r>
              <a:rPr lang="de-DE" sz="1400" err="1">
                <a:solidFill>
                  <a:schemeClr val="tx2">
                    <a:lumMod val="75000"/>
                  </a:schemeClr>
                </a:solidFill>
                <a:sym typeface="Wingdings" panose="05000000000000000000" pitchFamily="2" charset="2"/>
              </a:rPr>
              <a:t>Shapelet</a:t>
            </a:r>
            <a:r>
              <a:rPr lang="de-DE" sz="1400">
                <a:solidFill>
                  <a:schemeClr val="tx2">
                    <a:lumMod val="75000"/>
                  </a:schemeClr>
                </a:solidFill>
                <a:sym typeface="Wingdings" panose="05000000000000000000" pitchFamily="2" charset="2"/>
              </a:rPr>
              <a:t> Transform</a:t>
            </a:r>
          </a:p>
          <a:p>
            <a:pPr>
              <a:lnSpc>
                <a:spcPct val="110000"/>
              </a:lnSpc>
              <a:spcAft>
                <a:spcPts val="1000"/>
              </a:spcAft>
            </a:pPr>
            <a:r>
              <a:rPr lang="de-DE" sz="1400">
                <a:solidFill>
                  <a:schemeClr val="tx2">
                    <a:lumMod val="75000"/>
                  </a:schemeClr>
                </a:solidFill>
                <a:sym typeface="Wingdings" panose="05000000000000000000" pitchFamily="2" charset="2"/>
              </a:rPr>
              <a:t>3. Weitere wie Brute-Force Ansätze</a:t>
            </a:r>
          </a:p>
        </p:txBody>
      </p:sp>
      <p:sp>
        <p:nvSpPr>
          <p:cNvPr id="50" name="Textfeld 49">
            <a:extLst>
              <a:ext uri="{FF2B5EF4-FFF2-40B4-BE49-F238E27FC236}">
                <a16:creationId xmlns:a16="http://schemas.microsoft.com/office/drawing/2014/main" id="{3863329C-D39C-FB1F-EBCC-9DCA8AD7BEB3}"/>
              </a:ext>
            </a:extLst>
          </p:cNvPr>
          <p:cNvSpPr txBox="1"/>
          <p:nvPr/>
        </p:nvSpPr>
        <p:spPr>
          <a:xfrm>
            <a:off x="6385577" y="1844763"/>
            <a:ext cx="4390257" cy="208277"/>
          </a:xfrm>
          <a:prstGeom prst="rect">
            <a:avLst/>
          </a:prstGeom>
          <a:noFill/>
        </p:spPr>
        <p:txBody>
          <a:bodyPr wrap="square" lIns="0" tIns="0" rIns="0" bIns="0" rtlCol="0">
            <a:noAutofit/>
          </a:bodyPr>
          <a:lstStyle/>
          <a:p>
            <a:pPr>
              <a:lnSpc>
                <a:spcPct val="110000"/>
              </a:lnSpc>
              <a:spcAft>
                <a:spcPts val="1000"/>
              </a:spcAft>
            </a:pPr>
            <a:r>
              <a:rPr lang="de-DE" b="1">
                <a:solidFill>
                  <a:srgbClr val="007749"/>
                </a:solidFill>
                <a:sym typeface="Wingdings" panose="05000000000000000000" pitchFamily="2" charset="2"/>
              </a:rPr>
              <a:t>Pattern </a:t>
            </a:r>
            <a:r>
              <a:rPr lang="de-DE" b="1" err="1">
                <a:solidFill>
                  <a:srgbClr val="007749"/>
                </a:solidFill>
                <a:sym typeface="Wingdings" panose="05000000000000000000" pitchFamily="2" charset="2"/>
              </a:rPr>
              <a:t>Extraction</a:t>
            </a:r>
            <a:r>
              <a:rPr lang="de-DE" b="1">
                <a:solidFill>
                  <a:srgbClr val="007749"/>
                </a:solidFill>
                <a:sym typeface="Wingdings" panose="05000000000000000000" pitchFamily="2" charset="2"/>
              </a:rPr>
              <a:t> Ansätze:</a:t>
            </a:r>
          </a:p>
        </p:txBody>
      </p:sp>
      <p:cxnSp>
        <p:nvCxnSpPr>
          <p:cNvPr id="56" name="Gerader Verbinder 55">
            <a:extLst>
              <a:ext uri="{FF2B5EF4-FFF2-40B4-BE49-F238E27FC236}">
                <a16:creationId xmlns:a16="http://schemas.microsoft.com/office/drawing/2014/main" id="{B1BA3CB0-8E38-1CBC-41A0-9BCA46A5B916}"/>
              </a:ext>
            </a:extLst>
          </p:cNvPr>
          <p:cNvCxnSpPr>
            <a:cxnSpLocks/>
          </p:cNvCxnSpPr>
          <p:nvPr/>
        </p:nvCxnSpPr>
        <p:spPr>
          <a:xfrm>
            <a:off x="559703" y="2142309"/>
            <a:ext cx="4937486"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5725F67A-5101-3BE8-759A-48F0F87689BC}"/>
              </a:ext>
            </a:extLst>
          </p:cNvPr>
          <p:cNvCxnSpPr>
            <a:cxnSpLocks/>
          </p:cNvCxnSpPr>
          <p:nvPr/>
        </p:nvCxnSpPr>
        <p:spPr>
          <a:xfrm>
            <a:off x="6355526" y="2142309"/>
            <a:ext cx="4956667"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58" name="Textfeld 57">
            <a:extLst>
              <a:ext uri="{FF2B5EF4-FFF2-40B4-BE49-F238E27FC236}">
                <a16:creationId xmlns:a16="http://schemas.microsoft.com/office/drawing/2014/main" id="{242FD175-F54E-E318-E52B-C5C1F9539385}"/>
              </a:ext>
            </a:extLst>
          </p:cNvPr>
          <p:cNvSpPr txBox="1"/>
          <p:nvPr/>
        </p:nvSpPr>
        <p:spPr>
          <a:xfrm>
            <a:off x="581018" y="1846413"/>
            <a:ext cx="4390257" cy="379920"/>
          </a:xfrm>
          <a:prstGeom prst="rect">
            <a:avLst/>
          </a:prstGeom>
          <a:noFill/>
        </p:spPr>
        <p:txBody>
          <a:bodyPr wrap="square" lIns="0" tIns="0" rIns="0" bIns="0" rtlCol="0">
            <a:noAutofit/>
          </a:bodyPr>
          <a:lstStyle/>
          <a:p>
            <a:pPr>
              <a:lnSpc>
                <a:spcPct val="110000"/>
              </a:lnSpc>
              <a:spcAft>
                <a:spcPts val="1000"/>
              </a:spcAft>
            </a:pPr>
            <a:r>
              <a:rPr lang="de-DE" b="1">
                <a:solidFill>
                  <a:srgbClr val="007749"/>
                </a:solidFill>
                <a:sym typeface="Wingdings" panose="05000000000000000000" pitchFamily="2" charset="2"/>
              </a:rPr>
              <a:t>Idee:</a:t>
            </a:r>
          </a:p>
        </p:txBody>
      </p:sp>
      <p:sp>
        <p:nvSpPr>
          <p:cNvPr id="59" name="Rechteck 58">
            <a:extLst>
              <a:ext uri="{FF2B5EF4-FFF2-40B4-BE49-F238E27FC236}">
                <a16:creationId xmlns:a16="http://schemas.microsoft.com/office/drawing/2014/main" id="{03ED8488-5521-0BB8-EBA6-8D1D40CFAB7D}"/>
              </a:ext>
            </a:extLst>
          </p:cNvPr>
          <p:cNvSpPr/>
          <p:nvPr/>
        </p:nvSpPr>
        <p:spPr>
          <a:xfrm>
            <a:off x="1336826" y="5149884"/>
            <a:ext cx="10322605"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r>
              <a:rPr lang="de-DE" sz="1800">
                <a:solidFill>
                  <a:schemeClr val="tx2">
                    <a:lumMod val="75000"/>
                  </a:schemeClr>
                </a:solidFill>
                <a:sym typeface="Wingdings" panose="05000000000000000000" pitchFamily="2" charset="2"/>
              </a:rPr>
              <a:t>  Essentieller </a:t>
            </a:r>
            <a:r>
              <a:rPr lang="de-DE" sz="1800" b="1">
                <a:solidFill>
                  <a:schemeClr val="tx2">
                    <a:lumMod val="75000"/>
                  </a:schemeClr>
                </a:solidFill>
                <a:sym typeface="Wingdings" panose="05000000000000000000" pitchFamily="2" charset="2"/>
              </a:rPr>
              <a:t>Vorteil</a:t>
            </a:r>
            <a:r>
              <a:rPr lang="de-DE" sz="1800">
                <a:solidFill>
                  <a:schemeClr val="tx2">
                    <a:lumMod val="75000"/>
                  </a:schemeClr>
                </a:solidFill>
                <a:sym typeface="Wingdings" panose="05000000000000000000" pitchFamily="2" charset="2"/>
              </a:rPr>
              <a:t> ist die Erklärbarkeit unabhängig vom verwendeten Modell</a:t>
            </a:r>
          </a:p>
        </p:txBody>
      </p:sp>
      <p:sp>
        <p:nvSpPr>
          <p:cNvPr id="60" name="Rechteck 59">
            <a:extLst>
              <a:ext uri="{FF2B5EF4-FFF2-40B4-BE49-F238E27FC236}">
                <a16:creationId xmlns:a16="http://schemas.microsoft.com/office/drawing/2014/main" id="{49574FE4-2C7C-CC20-8A49-142E5168969A}"/>
              </a:ext>
            </a:extLst>
          </p:cNvPr>
          <p:cNvSpPr/>
          <p:nvPr/>
        </p:nvSpPr>
        <p:spPr>
          <a:xfrm>
            <a:off x="552757" y="5149883"/>
            <a:ext cx="784069"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endParaRPr lang="de-DE" sz="1800">
              <a:solidFill>
                <a:schemeClr val="tx1"/>
              </a:solidFill>
            </a:endParaRPr>
          </a:p>
        </p:txBody>
      </p:sp>
      <p:pic>
        <p:nvPicPr>
          <p:cNvPr id="65" name="Grafik 64" descr="Hinzufügen mit einfarbiger Füllung">
            <a:extLst>
              <a:ext uri="{FF2B5EF4-FFF2-40B4-BE49-F238E27FC236}">
                <a16:creationId xmlns:a16="http://schemas.microsoft.com/office/drawing/2014/main" id="{04D1BD67-A25A-178F-7105-22D2B0E698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9055" y="5261954"/>
            <a:ext cx="551471" cy="551471"/>
          </a:xfrm>
          <a:prstGeom prst="rect">
            <a:avLst/>
          </a:prstGeom>
        </p:spPr>
      </p:pic>
    </p:spTree>
    <p:extLst>
      <p:ext uri="{BB962C8B-B14F-4D97-AF65-F5344CB8AC3E}">
        <p14:creationId xmlns:p14="http://schemas.microsoft.com/office/powerpoint/2010/main" val="2179558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BB95C-7645-7EEC-FF15-95F6451023D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2E3DE5B-9FEB-9DEE-1108-FE5B1D829D19}"/>
              </a:ext>
            </a:extLst>
          </p:cNvPr>
          <p:cNvGraphicFramePr>
            <a:graphicFrameLocks noChangeAspect="1"/>
          </p:cNvGraphicFramePr>
          <p:nvPr>
            <p:custDataLst>
              <p:tags r:id="rId1"/>
            </p:custDataLst>
            <p:extLst>
              <p:ext uri="{D42A27DB-BD31-4B8C-83A1-F6EECF244321}">
                <p14:modId xmlns:p14="http://schemas.microsoft.com/office/powerpoint/2010/main" val="274579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82E3DE5B-9FEB-9DEE-1108-FE5B1D829D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Textfeld 39">
            <a:extLst>
              <a:ext uri="{FF2B5EF4-FFF2-40B4-BE49-F238E27FC236}">
                <a16:creationId xmlns:a16="http://schemas.microsoft.com/office/drawing/2014/main" id="{3D9AB2FF-F99A-72FE-2F8D-204EC3391215}"/>
              </a:ext>
            </a:extLst>
          </p:cNvPr>
          <p:cNvSpPr txBox="1"/>
          <p:nvPr/>
        </p:nvSpPr>
        <p:spPr>
          <a:xfrm>
            <a:off x="559703" y="1169414"/>
            <a:ext cx="10752490" cy="501753"/>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Neuer Ansatz</a:t>
            </a:r>
            <a:r>
              <a:rPr lang="de-DE" sz="1400">
                <a:solidFill>
                  <a:schemeClr val="tx2">
                    <a:lumMod val="75000"/>
                  </a:schemeClr>
                </a:solidFill>
              </a:rPr>
              <a:t>: Pattern Extractor auf Zeitreihen anwenden, um Muster (</a:t>
            </a:r>
            <a:r>
              <a:rPr lang="de-DE" sz="1400" err="1">
                <a:solidFill>
                  <a:schemeClr val="tx2">
                    <a:lumMod val="75000"/>
                  </a:schemeClr>
                </a:solidFill>
              </a:rPr>
              <a:t>Shapelets</a:t>
            </a:r>
            <a:r>
              <a:rPr lang="de-DE" sz="1400">
                <a:solidFill>
                  <a:schemeClr val="tx2">
                    <a:lumMod val="75000"/>
                  </a:schemeClr>
                </a:solidFill>
              </a:rPr>
              <a:t>) zu identifizieren, </a:t>
            </a:r>
            <a:r>
              <a:rPr lang="de-DE" sz="1400">
                <a:solidFill>
                  <a:schemeClr val="tx2">
                    <a:lumMod val="75000"/>
                  </a:schemeClr>
                </a:solidFill>
                <a:sym typeface="Wingdings" panose="05000000000000000000" pitchFamily="2" charset="2"/>
              </a:rPr>
              <a:t>die für die </a:t>
            </a:r>
            <a:r>
              <a:rPr lang="de-DE" sz="1400" err="1">
                <a:solidFill>
                  <a:schemeClr val="tx2">
                    <a:lumMod val="75000"/>
                  </a:schemeClr>
                </a:solidFill>
                <a:sym typeface="Wingdings" panose="05000000000000000000" pitchFamily="2" charset="2"/>
              </a:rPr>
              <a:t>Klassfikation</a:t>
            </a:r>
            <a:r>
              <a:rPr lang="de-DE" sz="1400">
                <a:solidFill>
                  <a:schemeClr val="tx2">
                    <a:lumMod val="75000"/>
                  </a:schemeClr>
                </a:solidFill>
                <a:sym typeface="Wingdings" panose="05000000000000000000" pitchFamily="2" charset="2"/>
              </a:rPr>
              <a:t> von</a:t>
            </a:r>
            <a:br>
              <a:rPr lang="de-DE" sz="1400">
                <a:solidFill>
                  <a:schemeClr val="tx2">
                    <a:lumMod val="75000"/>
                  </a:schemeClr>
                </a:solidFill>
                <a:sym typeface="Wingdings" panose="05000000000000000000" pitchFamily="2" charset="2"/>
              </a:rPr>
            </a:br>
            <a:r>
              <a:rPr lang="de-DE" sz="1400">
                <a:solidFill>
                  <a:schemeClr val="tx2">
                    <a:lumMod val="75000"/>
                  </a:schemeClr>
                </a:solidFill>
                <a:sym typeface="Wingdings" panose="05000000000000000000" pitchFamily="2" charset="2"/>
              </a:rPr>
              <a:t> 	     </a:t>
            </a:r>
            <a:r>
              <a:rPr lang="de-DE" sz="1400" err="1">
                <a:solidFill>
                  <a:schemeClr val="bg1"/>
                </a:solidFill>
                <a:sym typeface="Wingdings" panose="05000000000000000000" pitchFamily="2" charset="2"/>
              </a:rPr>
              <a:t>ii</a:t>
            </a:r>
            <a:r>
              <a:rPr lang="de-DE" sz="1400" err="1">
                <a:solidFill>
                  <a:schemeClr val="tx2">
                    <a:lumMod val="75000"/>
                  </a:schemeClr>
                </a:solidFill>
                <a:sym typeface="Wingdings" panose="05000000000000000000" pitchFamily="2" charset="2"/>
              </a:rPr>
              <a:t>Zeitreihen</a:t>
            </a:r>
            <a:r>
              <a:rPr lang="de-DE" sz="1400">
                <a:solidFill>
                  <a:schemeClr val="tx2">
                    <a:lumMod val="75000"/>
                  </a:schemeClr>
                </a:solidFill>
                <a:sym typeface="Wingdings" panose="05000000000000000000" pitchFamily="2" charset="2"/>
              </a:rPr>
              <a:t> wichtig sind. </a:t>
            </a: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br>
              <a:rPr lang="de-DE" sz="1400">
                <a:solidFill>
                  <a:schemeClr val="tx2">
                    <a:lumMod val="75000"/>
                  </a:schemeClr>
                </a:solidFill>
                <a:sym typeface="Wingdings" panose="05000000000000000000" pitchFamily="2" charset="2"/>
              </a:rPr>
            </a:b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p:txBody>
      </p:sp>
      <p:sp>
        <p:nvSpPr>
          <p:cNvPr id="41" name="Textfeld 40">
            <a:extLst>
              <a:ext uri="{FF2B5EF4-FFF2-40B4-BE49-F238E27FC236}">
                <a16:creationId xmlns:a16="http://schemas.microsoft.com/office/drawing/2014/main" id="{593C02A1-14C1-6F67-F749-ED775A9243F5}"/>
              </a:ext>
            </a:extLst>
          </p:cNvPr>
          <p:cNvSpPr txBox="1"/>
          <p:nvPr/>
        </p:nvSpPr>
        <p:spPr>
          <a:xfrm>
            <a:off x="4383157" y="2759823"/>
            <a:ext cx="3506678" cy="1290480"/>
          </a:xfrm>
          <a:prstGeom prst="rect">
            <a:avLst/>
          </a:prstGeom>
          <a:solidFill>
            <a:schemeClr val="bg1"/>
          </a:solidFill>
        </p:spPr>
        <p:txBody>
          <a:bodyPr wrap="square" lIns="0" tIns="0" rIns="0" bIns="0" rtlCol="0">
            <a:noAutofit/>
          </a:bodyPr>
          <a:lstStyle/>
          <a:p>
            <a:pPr>
              <a:lnSpc>
                <a:spcPct val="110000"/>
              </a:lnSpc>
              <a:spcAft>
                <a:spcPts val="1000"/>
              </a:spcAft>
            </a:pPr>
            <a:r>
              <a:rPr lang="de-DE" sz="1400">
                <a:solidFill>
                  <a:schemeClr val="tx2">
                    <a:lumMod val="75000"/>
                  </a:schemeClr>
                </a:solidFill>
              </a:rPr>
              <a:t>Algorithmen speziell für die </a:t>
            </a:r>
            <a:r>
              <a:rPr lang="de-DE" sz="1400" b="1">
                <a:solidFill>
                  <a:schemeClr val="tx2">
                    <a:lumMod val="75000"/>
                  </a:schemeClr>
                </a:solidFill>
              </a:rPr>
              <a:t>Analyse von Zeitreihen </a:t>
            </a:r>
          </a:p>
          <a:p>
            <a:pPr>
              <a:lnSpc>
                <a:spcPct val="110000"/>
              </a:lnSpc>
              <a:spcAft>
                <a:spcPts val="1000"/>
              </a:spcAft>
            </a:pPr>
            <a:r>
              <a:rPr lang="de-DE" sz="1400">
                <a:solidFill>
                  <a:schemeClr val="tx2">
                    <a:lumMod val="75000"/>
                  </a:schemeClr>
                </a:solidFill>
                <a:sym typeface="Wingdings" panose="05000000000000000000" pitchFamily="2" charset="2"/>
              </a:rPr>
              <a:t> Charakteristische </a:t>
            </a:r>
            <a:r>
              <a:rPr lang="de-DE" sz="1400" b="1">
                <a:solidFill>
                  <a:schemeClr val="tx2">
                    <a:lumMod val="75000"/>
                  </a:schemeClr>
                </a:solidFill>
                <a:sym typeface="Wingdings" panose="05000000000000000000" pitchFamily="2" charset="2"/>
              </a:rPr>
              <a:t>Muster</a:t>
            </a:r>
            <a:r>
              <a:rPr lang="de-DE" sz="1400">
                <a:solidFill>
                  <a:schemeClr val="tx2">
                    <a:lumMod val="75000"/>
                  </a:schemeClr>
                </a:solidFill>
                <a:sym typeface="Wingdings" panose="05000000000000000000" pitchFamily="2" charset="2"/>
              </a:rPr>
              <a:t> (</a:t>
            </a:r>
            <a:r>
              <a:rPr lang="de-DE" sz="1400" err="1">
                <a:solidFill>
                  <a:schemeClr val="tx2">
                    <a:lumMod val="75000"/>
                  </a:schemeClr>
                </a:solidFill>
                <a:sym typeface="Wingdings" panose="05000000000000000000" pitchFamily="2" charset="2"/>
              </a:rPr>
              <a:t>Shapelets</a:t>
            </a:r>
            <a:r>
              <a:rPr lang="de-DE" sz="1400">
                <a:solidFill>
                  <a:schemeClr val="tx2">
                    <a:lumMod val="75000"/>
                  </a:schemeClr>
                </a:solidFill>
                <a:sym typeface="Wingdings" panose="05000000000000000000" pitchFamily="2" charset="2"/>
              </a:rPr>
              <a:t>) ermitteln, die </a:t>
            </a:r>
            <a:r>
              <a:rPr lang="de-DE" sz="1400" b="1">
                <a:solidFill>
                  <a:schemeClr val="tx2">
                    <a:lumMod val="75000"/>
                  </a:schemeClr>
                </a:solidFill>
                <a:sym typeface="Wingdings" panose="05000000000000000000" pitchFamily="2" charset="2"/>
              </a:rPr>
              <a:t>für</a:t>
            </a:r>
            <a:r>
              <a:rPr lang="de-DE" sz="1400">
                <a:solidFill>
                  <a:schemeClr val="tx2">
                    <a:lumMod val="75000"/>
                  </a:schemeClr>
                </a:solidFill>
                <a:sym typeface="Wingdings" panose="05000000000000000000" pitchFamily="2" charset="2"/>
              </a:rPr>
              <a:t> die </a:t>
            </a:r>
            <a:r>
              <a:rPr lang="de-DE" sz="1400" b="1">
                <a:solidFill>
                  <a:schemeClr val="tx2">
                    <a:lumMod val="75000"/>
                  </a:schemeClr>
                </a:solidFill>
                <a:sym typeface="Wingdings" panose="05000000000000000000" pitchFamily="2" charset="2"/>
              </a:rPr>
              <a:t>Klassifikation</a:t>
            </a:r>
            <a:r>
              <a:rPr lang="de-DE" sz="1400">
                <a:solidFill>
                  <a:schemeClr val="tx2">
                    <a:lumMod val="75000"/>
                  </a:schemeClr>
                </a:solidFill>
                <a:sym typeface="Wingdings" panose="05000000000000000000" pitchFamily="2" charset="2"/>
              </a:rPr>
              <a:t> von Zeitreihen </a:t>
            </a:r>
            <a:r>
              <a:rPr lang="de-DE" sz="1400" b="1">
                <a:solidFill>
                  <a:schemeClr val="tx2">
                    <a:lumMod val="75000"/>
                  </a:schemeClr>
                </a:solidFill>
                <a:sym typeface="Wingdings" panose="05000000000000000000" pitchFamily="2" charset="2"/>
              </a:rPr>
              <a:t>wichtig</a:t>
            </a:r>
            <a:r>
              <a:rPr lang="de-DE" sz="1400">
                <a:solidFill>
                  <a:schemeClr val="tx2">
                    <a:lumMod val="75000"/>
                  </a:schemeClr>
                </a:solidFill>
                <a:sym typeface="Wingdings" panose="05000000000000000000" pitchFamily="2" charset="2"/>
              </a:rPr>
              <a:t> sind</a:t>
            </a:r>
            <a:endParaRPr lang="de-DE" sz="1400">
              <a:solidFill>
                <a:schemeClr val="tx2">
                  <a:lumMod val="75000"/>
                </a:schemeClr>
              </a:solidFill>
            </a:endParaRPr>
          </a:p>
        </p:txBody>
      </p:sp>
      <p:sp>
        <p:nvSpPr>
          <p:cNvPr id="2" name="Datumsplatzhalter 1">
            <a:extLst>
              <a:ext uri="{FF2B5EF4-FFF2-40B4-BE49-F238E27FC236}">
                <a16:creationId xmlns:a16="http://schemas.microsoft.com/office/drawing/2014/main" id="{01826D8D-BB03-0920-0643-34D663E6754A}"/>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519941B2-317C-8ACC-B31F-2C0FDE4A7018}"/>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E8D6468F-AFC0-CB64-5CD1-F55605AA1027}"/>
              </a:ext>
            </a:extLst>
          </p:cNvPr>
          <p:cNvSpPr>
            <a:spLocks noGrp="1"/>
          </p:cNvSpPr>
          <p:nvPr>
            <p:ph type="sldNum" sz="quarter" idx="12"/>
          </p:nvPr>
        </p:nvSpPr>
        <p:spPr/>
        <p:txBody>
          <a:bodyPr/>
          <a:lstStyle/>
          <a:p>
            <a:fld id="{02CEFE82-39F2-4F47-8A0C-D5AB3496FA5C}" type="slidenum">
              <a:rPr lang="de-DE" noProof="0" smtClean="0"/>
              <a:pPr/>
              <a:t>7</a:t>
            </a:fld>
            <a:endParaRPr lang="de-DE" noProof="0"/>
          </a:p>
        </p:txBody>
      </p:sp>
      <p:sp>
        <p:nvSpPr>
          <p:cNvPr id="5" name="Titel 4">
            <a:extLst>
              <a:ext uri="{FF2B5EF4-FFF2-40B4-BE49-F238E27FC236}">
                <a16:creationId xmlns:a16="http://schemas.microsoft.com/office/drawing/2014/main" id="{D6A55CA1-ADFB-2F12-C89A-D54823CF88E2}"/>
              </a:ext>
            </a:extLst>
          </p:cNvPr>
          <p:cNvSpPr>
            <a:spLocks noGrp="1"/>
          </p:cNvSpPr>
          <p:nvPr>
            <p:ph type="title"/>
          </p:nvPr>
        </p:nvSpPr>
        <p:spPr/>
        <p:txBody>
          <a:bodyPr vert="horz"/>
          <a:lstStyle/>
          <a:p>
            <a:r>
              <a:rPr lang="de-DE"/>
              <a:t>Pattern </a:t>
            </a:r>
            <a:r>
              <a:rPr lang="de-DE" err="1"/>
              <a:t>Extraction</a:t>
            </a:r>
            <a:endParaRPr lang="de-DE"/>
          </a:p>
        </p:txBody>
      </p:sp>
      <p:sp>
        <p:nvSpPr>
          <p:cNvPr id="8" name="Textfeld 7">
            <a:extLst>
              <a:ext uri="{FF2B5EF4-FFF2-40B4-BE49-F238E27FC236}">
                <a16:creationId xmlns:a16="http://schemas.microsoft.com/office/drawing/2014/main" id="{6F70C330-4468-D5FE-3F9C-356A897A4BF8}"/>
              </a:ext>
            </a:extLst>
          </p:cNvPr>
          <p:cNvSpPr txBox="1"/>
          <p:nvPr/>
        </p:nvSpPr>
        <p:spPr>
          <a:xfrm>
            <a:off x="8315403" y="3630998"/>
            <a:ext cx="2995285" cy="603911"/>
          </a:xfrm>
          <a:prstGeom prst="rect">
            <a:avLst/>
          </a:prstGeom>
          <a:solidFill>
            <a:schemeClr val="bg1"/>
          </a:solidFill>
        </p:spPr>
        <p:txBody>
          <a:bodyPr wrap="square" lIns="0" tIns="0" rIns="0" bIns="0" rtlCol="0">
            <a:noAutofit/>
          </a:bodyPr>
          <a:lstStyle/>
          <a:p>
            <a:pPr algn="ctr">
              <a:lnSpc>
                <a:spcPct val="110000"/>
              </a:lnSpc>
              <a:spcAft>
                <a:spcPts val="1000"/>
              </a:spcAft>
            </a:pPr>
            <a:endParaRPr lang="de-DE" sz="1400">
              <a:solidFill>
                <a:schemeClr val="tx2">
                  <a:lumMod val="75000"/>
                </a:schemeClr>
              </a:solidFill>
            </a:endParaRPr>
          </a:p>
        </p:txBody>
      </p:sp>
      <p:pic>
        <p:nvPicPr>
          <p:cNvPr id="24" name="Grafik 23">
            <a:extLst>
              <a:ext uri="{FF2B5EF4-FFF2-40B4-BE49-F238E27FC236}">
                <a16:creationId xmlns:a16="http://schemas.microsoft.com/office/drawing/2014/main" id="{57700AD2-08B2-23CE-4961-640FE04499D6}"/>
              </a:ext>
            </a:extLst>
          </p:cNvPr>
          <p:cNvPicPr>
            <a:picLocks noChangeAspect="1"/>
          </p:cNvPicPr>
          <p:nvPr/>
        </p:nvPicPr>
        <p:blipFill>
          <a:blip r:embed="rId5"/>
          <a:stretch>
            <a:fillRect/>
          </a:stretch>
        </p:blipFill>
        <p:spPr>
          <a:xfrm>
            <a:off x="2013958" y="3196609"/>
            <a:ext cx="1519092" cy="703283"/>
          </a:xfrm>
          <a:prstGeom prst="rect">
            <a:avLst/>
          </a:prstGeom>
          <a:ln>
            <a:solidFill>
              <a:schemeClr val="tx1"/>
            </a:solidFill>
          </a:ln>
          <a:effectLst>
            <a:outerShdw blurRad="50800" dist="38100" dir="2700000" algn="tl" rotWithShape="0">
              <a:prstClr val="black">
                <a:alpha val="40000"/>
              </a:prstClr>
            </a:outerShdw>
          </a:effectLst>
        </p:spPr>
      </p:pic>
      <p:pic>
        <p:nvPicPr>
          <p:cNvPr id="25" name="Grafik 24">
            <a:extLst>
              <a:ext uri="{FF2B5EF4-FFF2-40B4-BE49-F238E27FC236}">
                <a16:creationId xmlns:a16="http://schemas.microsoft.com/office/drawing/2014/main" id="{434336B6-337A-736F-FD06-420178951406}"/>
              </a:ext>
            </a:extLst>
          </p:cNvPr>
          <p:cNvPicPr>
            <a:picLocks noChangeAspect="1"/>
          </p:cNvPicPr>
          <p:nvPr/>
        </p:nvPicPr>
        <p:blipFill>
          <a:blip r:embed="rId6"/>
          <a:stretch>
            <a:fillRect/>
          </a:stretch>
        </p:blipFill>
        <p:spPr>
          <a:xfrm>
            <a:off x="1457836" y="3026298"/>
            <a:ext cx="1484556" cy="749887"/>
          </a:xfrm>
          <a:prstGeom prst="rect">
            <a:avLst/>
          </a:prstGeom>
          <a:ln>
            <a:solidFill>
              <a:schemeClr val="tx1"/>
            </a:solidFill>
          </a:ln>
          <a:effectLst>
            <a:outerShdw blurRad="50800" dist="38100" dir="2700000" algn="tl" rotWithShape="0">
              <a:prstClr val="black">
                <a:alpha val="40000"/>
              </a:prstClr>
            </a:outerShdw>
          </a:effectLst>
        </p:spPr>
      </p:pic>
      <p:pic>
        <p:nvPicPr>
          <p:cNvPr id="26" name="Grafik 25">
            <a:extLst>
              <a:ext uri="{FF2B5EF4-FFF2-40B4-BE49-F238E27FC236}">
                <a16:creationId xmlns:a16="http://schemas.microsoft.com/office/drawing/2014/main" id="{D9DDC3E7-8968-041E-2B18-5B25ACE1DB06}"/>
              </a:ext>
            </a:extLst>
          </p:cNvPr>
          <p:cNvPicPr>
            <a:picLocks noChangeAspect="1"/>
          </p:cNvPicPr>
          <p:nvPr/>
        </p:nvPicPr>
        <p:blipFill>
          <a:blip r:embed="rId7"/>
          <a:stretch>
            <a:fillRect/>
          </a:stretch>
        </p:blipFill>
        <p:spPr>
          <a:xfrm>
            <a:off x="906967" y="2881111"/>
            <a:ext cx="1499773" cy="749887"/>
          </a:xfrm>
          <a:prstGeom prst="rect">
            <a:avLst/>
          </a:prstGeom>
          <a:ln>
            <a:solidFill>
              <a:schemeClr val="tx1"/>
            </a:solidFill>
          </a:ln>
          <a:effectLst>
            <a:outerShdw blurRad="50800" dist="38100" dir="2700000" algn="tl" rotWithShape="0">
              <a:prstClr val="black">
                <a:alpha val="40000"/>
              </a:prstClr>
            </a:outerShdw>
          </a:effectLst>
        </p:spPr>
      </p:pic>
      <p:sp>
        <p:nvSpPr>
          <p:cNvPr id="30" name="Textfeld 29">
            <a:extLst>
              <a:ext uri="{FF2B5EF4-FFF2-40B4-BE49-F238E27FC236}">
                <a16:creationId xmlns:a16="http://schemas.microsoft.com/office/drawing/2014/main" id="{70A44854-5923-443C-3B43-5A276BED7822}"/>
              </a:ext>
            </a:extLst>
          </p:cNvPr>
          <p:cNvSpPr txBox="1"/>
          <p:nvPr/>
        </p:nvSpPr>
        <p:spPr>
          <a:xfrm>
            <a:off x="4383157" y="4320370"/>
            <a:ext cx="3659078" cy="476054"/>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Learning </a:t>
            </a:r>
            <a:r>
              <a:rPr lang="de-DE" sz="1400" b="1" err="1">
                <a:solidFill>
                  <a:schemeClr val="tx2">
                    <a:lumMod val="75000"/>
                  </a:schemeClr>
                </a:solidFill>
              </a:rPr>
              <a:t>Shapelets</a:t>
            </a:r>
            <a:endParaRPr lang="de-DE" sz="1400" b="1">
              <a:solidFill>
                <a:schemeClr val="tx2">
                  <a:lumMod val="75000"/>
                </a:schemeClr>
              </a:solidFill>
            </a:endParaRPr>
          </a:p>
          <a:p>
            <a:pPr>
              <a:lnSpc>
                <a:spcPct val="110000"/>
              </a:lnSpc>
              <a:spcAft>
                <a:spcPts val="1000"/>
              </a:spcAft>
            </a:pPr>
            <a:endParaRPr lang="de-DE" sz="1400">
              <a:solidFill>
                <a:schemeClr val="tx2">
                  <a:lumMod val="75000"/>
                </a:schemeClr>
              </a:solidFill>
            </a:endParaRPr>
          </a:p>
        </p:txBody>
      </p:sp>
      <p:sp>
        <p:nvSpPr>
          <p:cNvPr id="31" name="Textfeld 30">
            <a:extLst>
              <a:ext uri="{FF2B5EF4-FFF2-40B4-BE49-F238E27FC236}">
                <a16:creationId xmlns:a16="http://schemas.microsoft.com/office/drawing/2014/main" id="{8B685214-A06A-B653-866F-5C568B32E4BA}"/>
              </a:ext>
            </a:extLst>
          </p:cNvPr>
          <p:cNvSpPr txBox="1"/>
          <p:nvPr/>
        </p:nvSpPr>
        <p:spPr>
          <a:xfrm>
            <a:off x="638879" y="4319171"/>
            <a:ext cx="3506678" cy="476054"/>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Coffee Dataset</a:t>
            </a:r>
            <a:endParaRPr lang="de-DE" sz="1400">
              <a:solidFill>
                <a:schemeClr val="tx2">
                  <a:lumMod val="75000"/>
                </a:schemeClr>
              </a:solidFill>
            </a:endParaRPr>
          </a:p>
        </p:txBody>
      </p:sp>
      <p:cxnSp>
        <p:nvCxnSpPr>
          <p:cNvPr id="33" name="Gerader Verbinder 32">
            <a:extLst>
              <a:ext uri="{FF2B5EF4-FFF2-40B4-BE49-F238E27FC236}">
                <a16:creationId xmlns:a16="http://schemas.microsoft.com/office/drawing/2014/main" id="{D86659D5-2514-BA1B-DC9B-66B85DA844C9}"/>
              </a:ext>
            </a:extLst>
          </p:cNvPr>
          <p:cNvCxnSpPr>
            <a:cxnSpLocks/>
          </p:cNvCxnSpPr>
          <p:nvPr/>
        </p:nvCxnSpPr>
        <p:spPr>
          <a:xfrm>
            <a:off x="4306941" y="4259062"/>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71FDE411-6578-21FD-CA2C-B69CA0B49B72}"/>
              </a:ext>
            </a:extLst>
          </p:cNvPr>
          <p:cNvCxnSpPr>
            <a:cxnSpLocks/>
          </p:cNvCxnSpPr>
          <p:nvPr/>
        </p:nvCxnSpPr>
        <p:spPr>
          <a:xfrm flipV="1">
            <a:off x="552757" y="4259062"/>
            <a:ext cx="3570950" cy="12526"/>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B0CEC91B-096E-0397-4309-703A0D2A3B62}"/>
              </a:ext>
            </a:extLst>
          </p:cNvPr>
          <p:cNvCxnSpPr>
            <a:cxnSpLocks/>
          </p:cNvCxnSpPr>
          <p:nvPr/>
        </p:nvCxnSpPr>
        <p:spPr>
          <a:xfrm>
            <a:off x="8042235" y="4256162"/>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3BD0594A-F125-7494-65F3-8C52A2AFE90C}"/>
              </a:ext>
            </a:extLst>
          </p:cNvPr>
          <p:cNvSpPr/>
          <p:nvPr/>
        </p:nvSpPr>
        <p:spPr>
          <a:xfrm>
            <a:off x="1336827" y="5149884"/>
            <a:ext cx="6553008"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r>
              <a:rPr lang="de-DE" sz="1800">
                <a:solidFill>
                  <a:schemeClr val="tx2">
                    <a:lumMod val="75000"/>
                  </a:schemeClr>
                </a:solidFill>
                <a:sym typeface="Wingdings" panose="05000000000000000000" pitchFamily="2" charset="2"/>
              </a:rPr>
              <a:t>  Essentieller </a:t>
            </a:r>
            <a:r>
              <a:rPr lang="de-DE" sz="1800" b="1">
                <a:solidFill>
                  <a:schemeClr val="tx2">
                    <a:lumMod val="75000"/>
                  </a:schemeClr>
                </a:solidFill>
                <a:sym typeface="Wingdings" panose="05000000000000000000" pitchFamily="2" charset="2"/>
              </a:rPr>
              <a:t>Vorteil</a:t>
            </a:r>
            <a:r>
              <a:rPr lang="de-DE" sz="1800">
                <a:solidFill>
                  <a:schemeClr val="tx2">
                    <a:lumMod val="75000"/>
                  </a:schemeClr>
                </a:solidFill>
                <a:sym typeface="Wingdings" panose="05000000000000000000" pitchFamily="2" charset="2"/>
              </a:rPr>
              <a:t> ist die Erklärbarkeit unabhängig vom</a:t>
            </a:r>
            <a:br>
              <a:rPr lang="de-DE" sz="1800">
                <a:solidFill>
                  <a:schemeClr val="tx2">
                    <a:lumMod val="75000"/>
                  </a:schemeClr>
                </a:solidFill>
                <a:sym typeface="Wingdings" panose="05000000000000000000" pitchFamily="2" charset="2"/>
              </a:rPr>
            </a:br>
            <a:r>
              <a:rPr lang="de-DE" sz="1800">
                <a:solidFill>
                  <a:schemeClr val="tx2">
                    <a:lumMod val="75000"/>
                  </a:schemeClr>
                </a:solidFill>
                <a:sym typeface="Wingdings" panose="05000000000000000000" pitchFamily="2" charset="2"/>
              </a:rPr>
              <a:t>  verwendeten Modell</a:t>
            </a:r>
          </a:p>
        </p:txBody>
      </p:sp>
      <p:sp>
        <p:nvSpPr>
          <p:cNvPr id="37" name="Rechteck 36">
            <a:extLst>
              <a:ext uri="{FF2B5EF4-FFF2-40B4-BE49-F238E27FC236}">
                <a16:creationId xmlns:a16="http://schemas.microsoft.com/office/drawing/2014/main" id="{D8D6D001-3863-4BD7-CEC2-C58AF555A76B}"/>
              </a:ext>
            </a:extLst>
          </p:cNvPr>
          <p:cNvSpPr/>
          <p:nvPr/>
        </p:nvSpPr>
        <p:spPr>
          <a:xfrm>
            <a:off x="552757" y="5149883"/>
            <a:ext cx="784069"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endParaRPr lang="de-DE" sz="1800">
              <a:solidFill>
                <a:schemeClr val="tx1"/>
              </a:solidFill>
            </a:endParaRPr>
          </a:p>
        </p:txBody>
      </p:sp>
      <p:pic>
        <p:nvPicPr>
          <p:cNvPr id="38" name="Grafik 37" descr="Hinzufügen mit einfarbiger Füllung">
            <a:extLst>
              <a:ext uri="{FF2B5EF4-FFF2-40B4-BE49-F238E27FC236}">
                <a16:creationId xmlns:a16="http://schemas.microsoft.com/office/drawing/2014/main" id="{B13B971B-900B-51CF-8CC6-95F5031BBA0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055" y="5261954"/>
            <a:ext cx="551471" cy="551471"/>
          </a:xfrm>
          <a:prstGeom prst="rect">
            <a:avLst/>
          </a:prstGeom>
        </p:spPr>
      </p:pic>
      <p:sp>
        <p:nvSpPr>
          <p:cNvPr id="21" name="Rechteck 20">
            <a:extLst>
              <a:ext uri="{FF2B5EF4-FFF2-40B4-BE49-F238E27FC236}">
                <a16:creationId xmlns:a16="http://schemas.microsoft.com/office/drawing/2014/main" id="{4207B3B6-32DA-5E9C-D6C1-23F7F0317CA1}"/>
              </a:ext>
            </a:extLst>
          </p:cNvPr>
          <p:cNvSpPr/>
          <p:nvPr/>
        </p:nvSpPr>
        <p:spPr>
          <a:xfrm>
            <a:off x="542926" y="1722628"/>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Input: </a:t>
            </a:r>
            <a:br>
              <a:rPr lang="de-DE"/>
            </a:br>
            <a:r>
              <a:rPr lang="de-DE"/>
              <a:t>Time Series</a:t>
            </a:r>
          </a:p>
        </p:txBody>
      </p:sp>
      <p:sp>
        <p:nvSpPr>
          <p:cNvPr id="22" name="Rechteck 21">
            <a:extLst>
              <a:ext uri="{FF2B5EF4-FFF2-40B4-BE49-F238E27FC236}">
                <a16:creationId xmlns:a16="http://schemas.microsoft.com/office/drawing/2014/main" id="{094B58CD-F4CE-CBBD-6C90-229A5B5F0A64}"/>
              </a:ext>
            </a:extLst>
          </p:cNvPr>
          <p:cNvSpPr/>
          <p:nvPr/>
        </p:nvSpPr>
        <p:spPr>
          <a:xfrm>
            <a:off x="4304816" y="1722628"/>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solidFill>
                  <a:schemeClr val="bg1"/>
                </a:solidFill>
              </a:rPr>
              <a:t>Pattern </a:t>
            </a:r>
            <a:r>
              <a:rPr lang="de-DE" err="1">
                <a:solidFill>
                  <a:schemeClr val="bg1"/>
                </a:solidFill>
              </a:rPr>
              <a:t>Extractors</a:t>
            </a:r>
            <a:endParaRPr lang="de-DE">
              <a:solidFill>
                <a:schemeClr val="bg1"/>
              </a:solidFill>
            </a:endParaRPr>
          </a:p>
        </p:txBody>
      </p:sp>
      <p:sp>
        <p:nvSpPr>
          <p:cNvPr id="23" name="Rechteck 22">
            <a:extLst>
              <a:ext uri="{FF2B5EF4-FFF2-40B4-BE49-F238E27FC236}">
                <a16:creationId xmlns:a16="http://schemas.microsoft.com/office/drawing/2014/main" id="{610FA7A7-80CE-F076-6CDF-B8ECC668F35F}"/>
              </a:ext>
            </a:extLst>
          </p:cNvPr>
          <p:cNvSpPr/>
          <p:nvPr/>
        </p:nvSpPr>
        <p:spPr>
          <a:xfrm>
            <a:off x="8066706" y="1722627"/>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Output: </a:t>
            </a:r>
            <a:br>
              <a:rPr lang="de-DE"/>
            </a:br>
            <a:r>
              <a:rPr lang="de-DE"/>
              <a:t>Identifikation signifikanter Intervalle</a:t>
            </a:r>
          </a:p>
        </p:txBody>
      </p:sp>
      <p:sp>
        <p:nvSpPr>
          <p:cNvPr id="42" name="Textfeld 41">
            <a:extLst>
              <a:ext uri="{FF2B5EF4-FFF2-40B4-BE49-F238E27FC236}">
                <a16:creationId xmlns:a16="http://schemas.microsoft.com/office/drawing/2014/main" id="{32F2A822-9A70-9529-07AC-48FB9B196E5F}"/>
              </a:ext>
            </a:extLst>
          </p:cNvPr>
          <p:cNvSpPr txBox="1"/>
          <p:nvPr/>
        </p:nvSpPr>
        <p:spPr>
          <a:xfrm>
            <a:off x="8149850" y="2830018"/>
            <a:ext cx="3506678" cy="716414"/>
          </a:xfrm>
          <a:prstGeom prst="rect">
            <a:avLst/>
          </a:prstGeom>
          <a:solidFill>
            <a:schemeClr val="bg1"/>
          </a:solidFill>
        </p:spPr>
        <p:txBody>
          <a:bodyPr wrap="square" lIns="0" tIns="0" rIns="0" bIns="0" rtlCol="0">
            <a:noAutofit/>
          </a:bodyPr>
          <a:lstStyle/>
          <a:p>
            <a:pPr>
              <a:lnSpc>
                <a:spcPct val="110000"/>
              </a:lnSpc>
              <a:spcAft>
                <a:spcPts val="1000"/>
              </a:spcAft>
            </a:pPr>
            <a:r>
              <a:rPr lang="de-DE" sz="1400">
                <a:solidFill>
                  <a:schemeClr val="tx2">
                    <a:lumMod val="75000"/>
                  </a:schemeClr>
                </a:solidFill>
              </a:rPr>
              <a:t>Ergebnis sind </a:t>
            </a:r>
            <a:r>
              <a:rPr lang="de-DE" sz="1400" b="1">
                <a:solidFill>
                  <a:schemeClr val="tx2">
                    <a:lumMod val="75000"/>
                  </a:schemeClr>
                </a:solidFill>
              </a:rPr>
              <a:t>Muster</a:t>
            </a:r>
            <a:r>
              <a:rPr lang="de-DE" sz="1400">
                <a:solidFill>
                  <a:schemeClr val="tx2">
                    <a:lumMod val="75000"/>
                  </a:schemeClr>
                </a:solidFill>
              </a:rPr>
              <a:t>, die die für die Klassifikation </a:t>
            </a:r>
            <a:r>
              <a:rPr lang="de-DE" sz="1400" b="1">
                <a:solidFill>
                  <a:schemeClr val="tx2">
                    <a:lumMod val="75000"/>
                  </a:schemeClr>
                </a:solidFill>
              </a:rPr>
              <a:t>wichtigen Bereiche </a:t>
            </a:r>
            <a:r>
              <a:rPr lang="de-DE" sz="1400">
                <a:solidFill>
                  <a:schemeClr val="tx2">
                    <a:lumMod val="75000"/>
                  </a:schemeClr>
                </a:solidFill>
              </a:rPr>
              <a:t>in den Zeitreihen </a:t>
            </a:r>
            <a:r>
              <a:rPr lang="de-DE" sz="1400" b="1">
                <a:solidFill>
                  <a:schemeClr val="tx2">
                    <a:lumMod val="75000"/>
                  </a:schemeClr>
                </a:solidFill>
              </a:rPr>
              <a:t>festlegen</a:t>
            </a:r>
          </a:p>
        </p:txBody>
      </p:sp>
      <p:pic>
        <p:nvPicPr>
          <p:cNvPr id="46" name="Grafik 45" descr="Ein Bild, das Diagramm, Screenshot, Reihe enthält.&#10;&#10;Automatisch generierte Beschreibung">
            <a:extLst>
              <a:ext uri="{FF2B5EF4-FFF2-40B4-BE49-F238E27FC236}">
                <a16:creationId xmlns:a16="http://schemas.microsoft.com/office/drawing/2014/main" id="{A67ADF63-F829-CB72-351A-18CC98CB8D9A}"/>
              </a:ext>
            </a:extLst>
          </p:cNvPr>
          <p:cNvPicPr>
            <a:picLocks noChangeAspect="1"/>
          </p:cNvPicPr>
          <p:nvPr/>
        </p:nvPicPr>
        <p:blipFill>
          <a:blip r:embed="rId10"/>
          <a:stretch>
            <a:fillRect/>
          </a:stretch>
        </p:blipFill>
        <p:spPr>
          <a:xfrm>
            <a:off x="8066705" y="4499924"/>
            <a:ext cx="3379197" cy="15240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59922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74CC0-2C9C-EF37-FD03-D00A5F9E8B8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F5F2A3-F8D0-C1BB-AFDC-14C354E697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08F5F2A3-F8D0-C1BB-AFDC-14C354E697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Textfeld 39">
            <a:extLst>
              <a:ext uri="{FF2B5EF4-FFF2-40B4-BE49-F238E27FC236}">
                <a16:creationId xmlns:a16="http://schemas.microsoft.com/office/drawing/2014/main" id="{4E5E4AED-3878-8A8D-45F8-1B5BD8DF0CA9}"/>
              </a:ext>
            </a:extLst>
          </p:cNvPr>
          <p:cNvSpPr txBox="1"/>
          <p:nvPr/>
        </p:nvSpPr>
        <p:spPr>
          <a:xfrm>
            <a:off x="559703" y="1169414"/>
            <a:ext cx="10752490" cy="501753"/>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Neuer Ansatz</a:t>
            </a:r>
            <a:r>
              <a:rPr lang="de-DE" sz="1400">
                <a:solidFill>
                  <a:schemeClr val="tx2">
                    <a:lumMod val="75000"/>
                  </a:schemeClr>
                </a:solidFill>
              </a:rPr>
              <a:t>: Pattern Extractor auf Zeitreihen anwenden, um Muster (</a:t>
            </a:r>
            <a:r>
              <a:rPr lang="de-DE" sz="1400" err="1">
                <a:solidFill>
                  <a:schemeClr val="tx2">
                    <a:lumMod val="75000"/>
                  </a:schemeClr>
                </a:solidFill>
              </a:rPr>
              <a:t>Shapelets</a:t>
            </a:r>
            <a:r>
              <a:rPr lang="de-DE" sz="1400">
                <a:solidFill>
                  <a:schemeClr val="tx2">
                    <a:lumMod val="75000"/>
                  </a:schemeClr>
                </a:solidFill>
              </a:rPr>
              <a:t>) zu identifizieren, </a:t>
            </a:r>
            <a:r>
              <a:rPr lang="de-DE" sz="1400">
                <a:solidFill>
                  <a:schemeClr val="tx2">
                    <a:lumMod val="75000"/>
                  </a:schemeClr>
                </a:solidFill>
                <a:sym typeface="Wingdings" panose="05000000000000000000" pitchFamily="2" charset="2"/>
              </a:rPr>
              <a:t>die für die </a:t>
            </a:r>
            <a:r>
              <a:rPr lang="de-DE" sz="1400" err="1">
                <a:solidFill>
                  <a:schemeClr val="tx2">
                    <a:lumMod val="75000"/>
                  </a:schemeClr>
                </a:solidFill>
                <a:sym typeface="Wingdings" panose="05000000000000000000" pitchFamily="2" charset="2"/>
              </a:rPr>
              <a:t>Klassfikation</a:t>
            </a:r>
            <a:r>
              <a:rPr lang="de-DE" sz="1400">
                <a:solidFill>
                  <a:schemeClr val="tx2">
                    <a:lumMod val="75000"/>
                  </a:schemeClr>
                </a:solidFill>
                <a:sym typeface="Wingdings" panose="05000000000000000000" pitchFamily="2" charset="2"/>
              </a:rPr>
              <a:t> von</a:t>
            </a:r>
            <a:br>
              <a:rPr lang="de-DE" sz="1400">
                <a:solidFill>
                  <a:schemeClr val="tx2">
                    <a:lumMod val="75000"/>
                  </a:schemeClr>
                </a:solidFill>
                <a:sym typeface="Wingdings" panose="05000000000000000000" pitchFamily="2" charset="2"/>
              </a:rPr>
            </a:br>
            <a:r>
              <a:rPr lang="de-DE" sz="1400">
                <a:solidFill>
                  <a:schemeClr val="tx2">
                    <a:lumMod val="75000"/>
                  </a:schemeClr>
                </a:solidFill>
                <a:sym typeface="Wingdings" panose="05000000000000000000" pitchFamily="2" charset="2"/>
              </a:rPr>
              <a:t> 	     </a:t>
            </a:r>
            <a:r>
              <a:rPr lang="de-DE" sz="1400" err="1">
                <a:solidFill>
                  <a:schemeClr val="bg1"/>
                </a:solidFill>
                <a:sym typeface="Wingdings" panose="05000000000000000000" pitchFamily="2" charset="2"/>
              </a:rPr>
              <a:t>ii</a:t>
            </a:r>
            <a:r>
              <a:rPr lang="de-DE" sz="1400" err="1">
                <a:solidFill>
                  <a:schemeClr val="tx2">
                    <a:lumMod val="75000"/>
                  </a:schemeClr>
                </a:solidFill>
                <a:sym typeface="Wingdings" panose="05000000000000000000" pitchFamily="2" charset="2"/>
              </a:rPr>
              <a:t>Zeitreihen</a:t>
            </a:r>
            <a:r>
              <a:rPr lang="de-DE" sz="1400">
                <a:solidFill>
                  <a:schemeClr val="tx2">
                    <a:lumMod val="75000"/>
                  </a:schemeClr>
                </a:solidFill>
                <a:sym typeface="Wingdings" panose="05000000000000000000" pitchFamily="2" charset="2"/>
              </a:rPr>
              <a:t> wichtig sind. </a:t>
            </a: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br>
              <a:rPr lang="de-DE" sz="1400">
                <a:solidFill>
                  <a:schemeClr val="tx2">
                    <a:lumMod val="75000"/>
                  </a:schemeClr>
                </a:solidFill>
                <a:sym typeface="Wingdings" panose="05000000000000000000" pitchFamily="2" charset="2"/>
              </a:rPr>
            </a:b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p:txBody>
      </p:sp>
      <p:sp>
        <p:nvSpPr>
          <p:cNvPr id="41" name="Textfeld 40">
            <a:extLst>
              <a:ext uri="{FF2B5EF4-FFF2-40B4-BE49-F238E27FC236}">
                <a16:creationId xmlns:a16="http://schemas.microsoft.com/office/drawing/2014/main" id="{391DD16C-2798-2492-2C3B-D229844F1709}"/>
              </a:ext>
            </a:extLst>
          </p:cNvPr>
          <p:cNvSpPr txBox="1"/>
          <p:nvPr/>
        </p:nvSpPr>
        <p:spPr>
          <a:xfrm>
            <a:off x="4383157" y="2759823"/>
            <a:ext cx="3506678" cy="1290480"/>
          </a:xfrm>
          <a:prstGeom prst="rect">
            <a:avLst/>
          </a:prstGeom>
          <a:solidFill>
            <a:schemeClr val="bg1"/>
          </a:solidFill>
        </p:spPr>
        <p:txBody>
          <a:bodyPr wrap="square" lIns="0" tIns="0" rIns="0" bIns="0" rtlCol="0">
            <a:noAutofit/>
          </a:bodyPr>
          <a:lstStyle/>
          <a:p>
            <a:pPr>
              <a:lnSpc>
                <a:spcPct val="110000"/>
              </a:lnSpc>
              <a:spcAft>
                <a:spcPts val="1000"/>
              </a:spcAft>
            </a:pPr>
            <a:r>
              <a:rPr lang="de-DE" sz="1400">
                <a:solidFill>
                  <a:schemeClr val="tx2">
                    <a:lumMod val="75000"/>
                  </a:schemeClr>
                </a:solidFill>
              </a:rPr>
              <a:t>Algorithmen speziell für die </a:t>
            </a:r>
            <a:r>
              <a:rPr lang="de-DE" sz="1400" b="1">
                <a:solidFill>
                  <a:schemeClr val="tx2">
                    <a:lumMod val="75000"/>
                  </a:schemeClr>
                </a:solidFill>
              </a:rPr>
              <a:t>Analyse von Zeitreihen </a:t>
            </a:r>
          </a:p>
          <a:p>
            <a:pPr>
              <a:lnSpc>
                <a:spcPct val="110000"/>
              </a:lnSpc>
              <a:spcAft>
                <a:spcPts val="1000"/>
              </a:spcAft>
            </a:pPr>
            <a:r>
              <a:rPr lang="de-DE" sz="1400">
                <a:solidFill>
                  <a:schemeClr val="tx2">
                    <a:lumMod val="75000"/>
                  </a:schemeClr>
                </a:solidFill>
                <a:sym typeface="Wingdings" panose="05000000000000000000" pitchFamily="2" charset="2"/>
              </a:rPr>
              <a:t> Charakteristische </a:t>
            </a:r>
            <a:r>
              <a:rPr lang="de-DE" sz="1400" b="1">
                <a:solidFill>
                  <a:schemeClr val="tx2">
                    <a:lumMod val="75000"/>
                  </a:schemeClr>
                </a:solidFill>
                <a:sym typeface="Wingdings" panose="05000000000000000000" pitchFamily="2" charset="2"/>
              </a:rPr>
              <a:t>Muster</a:t>
            </a:r>
            <a:r>
              <a:rPr lang="de-DE" sz="1400">
                <a:solidFill>
                  <a:schemeClr val="tx2">
                    <a:lumMod val="75000"/>
                  </a:schemeClr>
                </a:solidFill>
                <a:sym typeface="Wingdings" panose="05000000000000000000" pitchFamily="2" charset="2"/>
              </a:rPr>
              <a:t> (</a:t>
            </a:r>
            <a:r>
              <a:rPr lang="de-DE" sz="1400" err="1">
                <a:solidFill>
                  <a:schemeClr val="tx2">
                    <a:lumMod val="75000"/>
                  </a:schemeClr>
                </a:solidFill>
                <a:sym typeface="Wingdings" panose="05000000000000000000" pitchFamily="2" charset="2"/>
              </a:rPr>
              <a:t>Shapelets</a:t>
            </a:r>
            <a:r>
              <a:rPr lang="de-DE" sz="1400">
                <a:solidFill>
                  <a:schemeClr val="tx2">
                    <a:lumMod val="75000"/>
                  </a:schemeClr>
                </a:solidFill>
                <a:sym typeface="Wingdings" panose="05000000000000000000" pitchFamily="2" charset="2"/>
              </a:rPr>
              <a:t>) ermitteln, die </a:t>
            </a:r>
            <a:r>
              <a:rPr lang="de-DE" sz="1400" b="1">
                <a:solidFill>
                  <a:schemeClr val="tx2">
                    <a:lumMod val="75000"/>
                  </a:schemeClr>
                </a:solidFill>
                <a:sym typeface="Wingdings" panose="05000000000000000000" pitchFamily="2" charset="2"/>
              </a:rPr>
              <a:t>für</a:t>
            </a:r>
            <a:r>
              <a:rPr lang="de-DE" sz="1400">
                <a:solidFill>
                  <a:schemeClr val="tx2">
                    <a:lumMod val="75000"/>
                  </a:schemeClr>
                </a:solidFill>
                <a:sym typeface="Wingdings" panose="05000000000000000000" pitchFamily="2" charset="2"/>
              </a:rPr>
              <a:t> die </a:t>
            </a:r>
            <a:r>
              <a:rPr lang="de-DE" sz="1400" b="1">
                <a:solidFill>
                  <a:schemeClr val="tx2">
                    <a:lumMod val="75000"/>
                  </a:schemeClr>
                </a:solidFill>
                <a:sym typeface="Wingdings" panose="05000000000000000000" pitchFamily="2" charset="2"/>
              </a:rPr>
              <a:t>Klassifikation</a:t>
            </a:r>
            <a:r>
              <a:rPr lang="de-DE" sz="1400">
                <a:solidFill>
                  <a:schemeClr val="tx2">
                    <a:lumMod val="75000"/>
                  </a:schemeClr>
                </a:solidFill>
                <a:sym typeface="Wingdings" panose="05000000000000000000" pitchFamily="2" charset="2"/>
              </a:rPr>
              <a:t> von Zeitreihen </a:t>
            </a:r>
            <a:r>
              <a:rPr lang="de-DE" sz="1400" b="1">
                <a:solidFill>
                  <a:schemeClr val="tx2">
                    <a:lumMod val="75000"/>
                  </a:schemeClr>
                </a:solidFill>
                <a:sym typeface="Wingdings" panose="05000000000000000000" pitchFamily="2" charset="2"/>
              </a:rPr>
              <a:t>wichtig</a:t>
            </a:r>
            <a:r>
              <a:rPr lang="de-DE" sz="1400">
                <a:solidFill>
                  <a:schemeClr val="tx2">
                    <a:lumMod val="75000"/>
                  </a:schemeClr>
                </a:solidFill>
                <a:sym typeface="Wingdings" panose="05000000000000000000" pitchFamily="2" charset="2"/>
              </a:rPr>
              <a:t> sind</a:t>
            </a:r>
            <a:endParaRPr lang="de-DE" sz="1400">
              <a:solidFill>
                <a:schemeClr val="tx2">
                  <a:lumMod val="75000"/>
                </a:schemeClr>
              </a:solidFill>
            </a:endParaRPr>
          </a:p>
        </p:txBody>
      </p:sp>
      <p:sp>
        <p:nvSpPr>
          <p:cNvPr id="2" name="Datumsplatzhalter 1">
            <a:extLst>
              <a:ext uri="{FF2B5EF4-FFF2-40B4-BE49-F238E27FC236}">
                <a16:creationId xmlns:a16="http://schemas.microsoft.com/office/drawing/2014/main" id="{00F54CB1-8168-FCD5-E0E7-AC416D9FFBFD}"/>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B1D3AF1A-4261-899D-2261-DBDA244C66F4}"/>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97C233BE-F350-3436-6C4C-3C27C04807AA}"/>
              </a:ext>
            </a:extLst>
          </p:cNvPr>
          <p:cNvSpPr>
            <a:spLocks noGrp="1"/>
          </p:cNvSpPr>
          <p:nvPr>
            <p:ph type="sldNum" sz="quarter" idx="12"/>
          </p:nvPr>
        </p:nvSpPr>
        <p:spPr/>
        <p:txBody>
          <a:bodyPr/>
          <a:lstStyle/>
          <a:p>
            <a:fld id="{02CEFE82-39F2-4F47-8A0C-D5AB3496FA5C}" type="slidenum">
              <a:rPr lang="de-DE" noProof="0" smtClean="0"/>
              <a:pPr/>
              <a:t>8</a:t>
            </a:fld>
            <a:endParaRPr lang="de-DE" noProof="0"/>
          </a:p>
        </p:txBody>
      </p:sp>
      <p:sp>
        <p:nvSpPr>
          <p:cNvPr id="5" name="Titel 4">
            <a:extLst>
              <a:ext uri="{FF2B5EF4-FFF2-40B4-BE49-F238E27FC236}">
                <a16:creationId xmlns:a16="http://schemas.microsoft.com/office/drawing/2014/main" id="{05630EA3-D26C-09A0-4B41-A45B5C46475F}"/>
              </a:ext>
            </a:extLst>
          </p:cNvPr>
          <p:cNvSpPr>
            <a:spLocks noGrp="1"/>
          </p:cNvSpPr>
          <p:nvPr>
            <p:ph type="title"/>
          </p:nvPr>
        </p:nvSpPr>
        <p:spPr/>
        <p:txBody>
          <a:bodyPr vert="horz"/>
          <a:lstStyle/>
          <a:p>
            <a:r>
              <a:rPr lang="de-DE"/>
              <a:t>Pattern </a:t>
            </a:r>
            <a:r>
              <a:rPr lang="de-DE" err="1"/>
              <a:t>Extraction</a:t>
            </a:r>
            <a:endParaRPr lang="de-DE"/>
          </a:p>
        </p:txBody>
      </p:sp>
      <p:sp>
        <p:nvSpPr>
          <p:cNvPr id="8" name="Textfeld 7">
            <a:extLst>
              <a:ext uri="{FF2B5EF4-FFF2-40B4-BE49-F238E27FC236}">
                <a16:creationId xmlns:a16="http://schemas.microsoft.com/office/drawing/2014/main" id="{32AF9166-6EE8-DFF6-5D09-DADD83843F19}"/>
              </a:ext>
            </a:extLst>
          </p:cNvPr>
          <p:cNvSpPr txBox="1"/>
          <p:nvPr/>
        </p:nvSpPr>
        <p:spPr>
          <a:xfrm>
            <a:off x="8315403" y="3630998"/>
            <a:ext cx="2995285" cy="603911"/>
          </a:xfrm>
          <a:prstGeom prst="rect">
            <a:avLst/>
          </a:prstGeom>
          <a:solidFill>
            <a:schemeClr val="bg1"/>
          </a:solidFill>
        </p:spPr>
        <p:txBody>
          <a:bodyPr wrap="square" lIns="0" tIns="0" rIns="0" bIns="0" rtlCol="0">
            <a:noAutofit/>
          </a:bodyPr>
          <a:lstStyle/>
          <a:p>
            <a:pPr algn="ctr">
              <a:lnSpc>
                <a:spcPct val="110000"/>
              </a:lnSpc>
              <a:spcAft>
                <a:spcPts val="1000"/>
              </a:spcAft>
            </a:pPr>
            <a:endParaRPr lang="de-DE" sz="1400">
              <a:solidFill>
                <a:schemeClr val="tx2">
                  <a:lumMod val="75000"/>
                </a:schemeClr>
              </a:solidFill>
            </a:endParaRPr>
          </a:p>
        </p:txBody>
      </p:sp>
      <p:pic>
        <p:nvPicPr>
          <p:cNvPr id="24" name="Grafik 23">
            <a:extLst>
              <a:ext uri="{FF2B5EF4-FFF2-40B4-BE49-F238E27FC236}">
                <a16:creationId xmlns:a16="http://schemas.microsoft.com/office/drawing/2014/main" id="{6F025899-57A2-375C-8B82-FED418A0D945}"/>
              </a:ext>
            </a:extLst>
          </p:cNvPr>
          <p:cNvPicPr>
            <a:picLocks noChangeAspect="1"/>
          </p:cNvPicPr>
          <p:nvPr/>
        </p:nvPicPr>
        <p:blipFill>
          <a:blip r:embed="rId5"/>
          <a:stretch>
            <a:fillRect/>
          </a:stretch>
        </p:blipFill>
        <p:spPr>
          <a:xfrm>
            <a:off x="2013958" y="3196609"/>
            <a:ext cx="1519092" cy="703283"/>
          </a:xfrm>
          <a:prstGeom prst="rect">
            <a:avLst/>
          </a:prstGeom>
          <a:ln>
            <a:solidFill>
              <a:schemeClr val="tx1"/>
            </a:solidFill>
          </a:ln>
          <a:effectLst>
            <a:outerShdw blurRad="50800" dist="38100" dir="2700000" algn="tl" rotWithShape="0">
              <a:prstClr val="black">
                <a:alpha val="40000"/>
              </a:prstClr>
            </a:outerShdw>
          </a:effectLst>
        </p:spPr>
      </p:pic>
      <p:pic>
        <p:nvPicPr>
          <p:cNvPr id="25" name="Grafik 24">
            <a:extLst>
              <a:ext uri="{FF2B5EF4-FFF2-40B4-BE49-F238E27FC236}">
                <a16:creationId xmlns:a16="http://schemas.microsoft.com/office/drawing/2014/main" id="{C86B1224-D1FD-45FF-0793-63906E60B575}"/>
              </a:ext>
            </a:extLst>
          </p:cNvPr>
          <p:cNvPicPr>
            <a:picLocks noChangeAspect="1"/>
          </p:cNvPicPr>
          <p:nvPr/>
        </p:nvPicPr>
        <p:blipFill>
          <a:blip r:embed="rId6"/>
          <a:stretch>
            <a:fillRect/>
          </a:stretch>
        </p:blipFill>
        <p:spPr>
          <a:xfrm>
            <a:off x="1457836" y="3026298"/>
            <a:ext cx="1484556" cy="749887"/>
          </a:xfrm>
          <a:prstGeom prst="rect">
            <a:avLst/>
          </a:prstGeom>
          <a:ln>
            <a:solidFill>
              <a:schemeClr val="tx1"/>
            </a:solidFill>
          </a:ln>
          <a:effectLst>
            <a:outerShdw blurRad="50800" dist="38100" dir="2700000" algn="tl" rotWithShape="0">
              <a:prstClr val="black">
                <a:alpha val="40000"/>
              </a:prstClr>
            </a:outerShdw>
          </a:effectLst>
        </p:spPr>
      </p:pic>
      <p:pic>
        <p:nvPicPr>
          <p:cNvPr id="26" name="Grafik 25">
            <a:extLst>
              <a:ext uri="{FF2B5EF4-FFF2-40B4-BE49-F238E27FC236}">
                <a16:creationId xmlns:a16="http://schemas.microsoft.com/office/drawing/2014/main" id="{35FD9273-906D-370D-0EC7-A22F44B96852}"/>
              </a:ext>
            </a:extLst>
          </p:cNvPr>
          <p:cNvPicPr>
            <a:picLocks noChangeAspect="1"/>
          </p:cNvPicPr>
          <p:nvPr/>
        </p:nvPicPr>
        <p:blipFill>
          <a:blip r:embed="rId7"/>
          <a:stretch>
            <a:fillRect/>
          </a:stretch>
        </p:blipFill>
        <p:spPr>
          <a:xfrm>
            <a:off x="906967" y="2881111"/>
            <a:ext cx="1499773" cy="749887"/>
          </a:xfrm>
          <a:prstGeom prst="rect">
            <a:avLst/>
          </a:prstGeom>
          <a:ln>
            <a:solidFill>
              <a:schemeClr val="tx1"/>
            </a:solidFill>
          </a:ln>
          <a:effectLst>
            <a:outerShdw blurRad="50800" dist="38100" dir="2700000" algn="tl" rotWithShape="0">
              <a:prstClr val="black">
                <a:alpha val="40000"/>
              </a:prstClr>
            </a:outerShdw>
          </a:effectLst>
        </p:spPr>
      </p:pic>
      <p:sp>
        <p:nvSpPr>
          <p:cNvPr id="30" name="Textfeld 29">
            <a:extLst>
              <a:ext uri="{FF2B5EF4-FFF2-40B4-BE49-F238E27FC236}">
                <a16:creationId xmlns:a16="http://schemas.microsoft.com/office/drawing/2014/main" id="{767CCC3C-1E3E-6D15-A15B-2BA9E163DA45}"/>
              </a:ext>
            </a:extLst>
          </p:cNvPr>
          <p:cNvSpPr txBox="1"/>
          <p:nvPr/>
        </p:nvSpPr>
        <p:spPr>
          <a:xfrm>
            <a:off x="4383157" y="4320370"/>
            <a:ext cx="3659078" cy="476054"/>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Learning </a:t>
            </a:r>
            <a:r>
              <a:rPr lang="de-DE" sz="1400" b="1" err="1">
                <a:solidFill>
                  <a:schemeClr val="tx2">
                    <a:lumMod val="75000"/>
                  </a:schemeClr>
                </a:solidFill>
              </a:rPr>
              <a:t>Shapelets</a:t>
            </a:r>
            <a:endParaRPr lang="de-DE" sz="1400" b="1">
              <a:solidFill>
                <a:schemeClr val="tx2">
                  <a:lumMod val="75000"/>
                </a:schemeClr>
              </a:solidFill>
            </a:endParaRPr>
          </a:p>
          <a:p>
            <a:pPr>
              <a:lnSpc>
                <a:spcPct val="110000"/>
              </a:lnSpc>
              <a:spcAft>
                <a:spcPts val="1000"/>
              </a:spcAft>
            </a:pPr>
            <a:endParaRPr lang="de-DE" sz="1400">
              <a:solidFill>
                <a:schemeClr val="tx2">
                  <a:lumMod val="75000"/>
                </a:schemeClr>
              </a:solidFill>
            </a:endParaRPr>
          </a:p>
        </p:txBody>
      </p:sp>
      <p:sp>
        <p:nvSpPr>
          <p:cNvPr id="31" name="Textfeld 30">
            <a:extLst>
              <a:ext uri="{FF2B5EF4-FFF2-40B4-BE49-F238E27FC236}">
                <a16:creationId xmlns:a16="http://schemas.microsoft.com/office/drawing/2014/main" id="{488B8C42-ABCB-8875-D56C-285126EC7A41}"/>
              </a:ext>
            </a:extLst>
          </p:cNvPr>
          <p:cNvSpPr txBox="1"/>
          <p:nvPr/>
        </p:nvSpPr>
        <p:spPr>
          <a:xfrm>
            <a:off x="638879" y="4319171"/>
            <a:ext cx="3506678" cy="476054"/>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Coffee Dataset</a:t>
            </a:r>
            <a:endParaRPr lang="de-DE" sz="1400">
              <a:solidFill>
                <a:schemeClr val="tx2">
                  <a:lumMod val="75000"/>
                </a:schemeClr>
              </a:solidFill>
            </a:endParaRPr>
          </a:p>
        </p:txBody>
      </p:sp>
      <p:cxnSp>
        <p:nvCxnSpPr>
          <p:cNvPr id="33" name="Gerader Verbinder 32">
            <a:extLst>
              <a:ext uri="{FF2B5EF4-FFF2-40B4-BE49-F238E27FC236}">
                <a16:creationId xmlns:a16="http://schemas.microsoft.com/office/drawing/2014/main" id="{F26C424C-DE88-A1D4-2475-C5B6EC2E8135}"/>
              </a:ext>
            </a:extLst>
          </p:cNvPr>
          <p:cNvCxnSpPr>
            <a:cxnSpLocks/>
          </p:cNvCxnSpPr>
          <p:nvPr/>
        </p:nvCxnSpPr>
        <p:spPr>
          <a:xfrm>
            <a:off x="4306941" y="4259062"/>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35BF0BFF-0CF7-4002-174D-5146DD4A526A}"/>
              </a:ext>
            </a:extLst>
          </p:cNvPr>
          <p:cNvCxnSpPr>
            <a:cxnSpLocks/>
          </p:cNvCxnSpPr>
          <p:nvPr/>
        </p:nvCxnSpPr>
        <p:spPr>
          <a:xfrm flipV="1">
            <a:off x="552757" y="4259062"/>
            <a:ext cx="3570950" cy="12526"/>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9579FC2F-4821-BD10-2F71-D12F4A16118B}"/>
              </a:ext>
            </a:extLst>
          </p:cNvPr>
          <p:cNvCxnSpPr>
            <a:cxnSpLocks/>
          </p:cNvCxnSpPr>
          <p:nvPr/>
        </p:nvCxnSpPr>
        <p:spPr>
          <a:xfrm>
            <a:off x="8042235" y="4256162"/>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63E54864-DA1E-377D-C461-2A2BCA07F71B}"/>
              </a:ext>
            </a:extLst>
          </p:cNvPr>
          <p:cNvSpPr/>
          <p:nvPr/>
        </p:nvSpPr>
        <p:spPr>
          <a:xfrm>
            <a:off x="1336827" y="5149884"/>
            <a:ext cx="6553008"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r>
              <a:rPr lang="de-DE" sz="1800">
                <a:solidFill>
                  <a:schemeClr val="tx2">
                    <a:lumMod val="75000"/>
                  </a:schemeClr>
                </a:solidFill>
                <a:sym typeface="Wingdings" panose="05000000000000000000" pitchFamily="2" charset="2"/>
              </a:rPr>
              <a:t>  Essentieller </a:t>
            </a:r>
            <a:r>
              <a:rPr lang="de-DE" sz="1800" b="1">
                <a:solidFill>
                  <a:schemeClr val="tx2">
                    <a:lumMod val="75000"/>
                  </a:schemeClr>
                </a:solidFill>
                <a:sym typeface="Wingdings" panose="05000000000000000000" pitchFamily="2" charset="2"/>
              </a:rPr>
              <a:t>Vorteil</a:t>
            </a:r>
            <a:r>
              <a:rPr lang="de-DE" sz="1800">
                <a:solidFill>
                  <a:schemeClr val="tx2">
                    <a:lumMod val="75000"/>
                  </a:schemeClr>
                </a:solidFill>
                <a:sym typeface="Wingdings" panose="05000000000000000000" pitchFamily="2" charset="2"/>
              </a:rPr>
              <a:t> ist die Erklärbarkeit unabhängig vom</a:t>
            </a:r>
            <a:br>
              <a:rPr lang="de-DE" sz="1800">
                <a:solidFill>
                  <a:schemeClr val="tx2">
                    <a:lumMod val="75000"/>
                  </a:schemeClr>
                </a:solidFill>
                <a:sym typeface="Wingdings" panose="05000000000000000000" pitchFamily="2" charset="2"/>
              </a:rPr>
            </a:br>
            <a:r>
              <a:rPr lang="de-DE" sz="1800">
                <a:solidFill>
                  <a:schemeClr val="tx2">
                    <a:lumMod val="75000"/>
                  </a:schemeClr>
                </a:solidFill>
                <a:sym typeface="Wingdings" panose="05000000000000000000" pitchFamily="2" charset="2"/>
              </a:rPr>
              <a:t>  verwendeten Modell</a:t>
            </a:r>
          </a:p>
        </p:txBody>
      </p:sp>
      <p:sp>
        <p:nvSpPr>
          <p:cNvPr id="37" name="Rechteck 36">
            <a:extLst>
              <a:ext uri="{FF2B5EF4-FFF2-40B4-BE49-F238E27FC236}">
                <a16:creationId xmlns:a16="http://schemas.microsoft.com/office/drawing/2014/main" id="{D48564EB-60F8-C70E-7BED-5DD3D15E4632}"/>
              </a:ext>
            </a:extLst>
          </p:cNvPr>
          <p:cNvSpPr/>
          <p:nvPr/>
        </p:nvSpPr>
        <p:spPr>
          <a:xfrm>
            <a:off x="552757" y="5149883"/>
            <a:ext cx="784069"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endParaRPr lang="de-DE" sz="1800">
              <a:solidFill>
                <a:schemeClr val="tx1"/>
              </a:solidFill>
            </a:endParaRPr>
          </a:p>
        </p:txBody>
      </p:sp>
      <p:pic>
        <p:nvPicPr>
          <p:cNvPr id="38" name="Grafik 37" descr="Hinzufügen mit einfarbiger Füllung">
            <a:extLst>
              <a:ext uri="{FF2B5EF4-FFF2-40B4-BE49-F238E27FC236}">
                <a16:creationId xmlns:a16="http://schemas.microsoft.com/office/drawing/2014/main" id="{5D10F4A7-2251-1681-2A7C-034D3716F1D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055" y="5261954"/>
            <a:ext cx="551471" cy="551471"/>
          </a:xfrm>
          <a:prstGeom prst="rect">
            <a:avLst/>
          </a:prstGeom>
        </p:spPr>
      </p:pic>
      <p:sp>
        <p:nvSpPr>
          <p:cNvPr id="21" name="Rechteck 20">
            <a:extLst>
              <a:ext uri="{FF2B5EF4-FFF2-40B4-BE49-F238E27FC236}">
                <a16:creationId xmlns:a16="http://schemas.microsoft.com/office/drawing/2014/main" id="{52D50404-9A56-1987-6925-42BA0F339E4E}"/>
              </a:ext>
            </a:extLst>
          </p:cNvPr>
          <p:cNvSpPr/>
          <p:nvPr/>
        </p:nvSpPr>
        <p:spPr>
          <a:xfrm>
            <a:off x="542926" y="1722628"/>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Input: </a:t>
            </a:r>
            <a:br>
              <a:rPr lang="de-DE"/>
            </a:br>
            <a:r>
              <a:rPr lang="de-DE"/>
              <a:t>Time Series</a:t>
            </a:r>
          </a:p>
        </p:txBody>
      </p:sp>
      <p:sp>
        <p:nvSpPr>
          <p:cNvPr id="22" name="Rechteck 21">
            <a:extLst>
              <a:ext uri="{FF2B5EF4-FFF2-40B4-BE49-F238E27FC236}">
                <a16:creationId xmlns:a16="http://schemas.microsoft.com/office/drawing/2014/main" id="{7F398D0B-2696-13F9-3B58-10421241FBBA}"/>
              </a:ext>
            </a:extLst>
          </p:cNvPr>
          <p:cNvSpPr/>
          <p:nvPr/>
        </p:nvSpPr>
        <p:spPr>
          <a:xfrm>
            <a:off x="4304816" y="1722628"/>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solidFill>
                  <a:schemeClr val="bg1"/>
                </a:solidFill>
              </a:rPr>
              <a:t>Pattern </a:t>
            </a:r>
            <a:r>
              <a:rPr lang="de-DE" err="1">
                <a:solidFill>
                  <a:schemeClr val="bg1"/>
                </a:solidFill>
              </a:rPr>
              <a:t>Extractors</a:t>
            </a:r>
            <a:endParaRPr lang="de-DE">
              <a:solidFill>
                <a:schemeClr val="bg1"/>
              </a:solidFill>
            </a:endParaRPr>
          </a:p>
        </p:txBody>
      </p:sp>
      <p:sp>
        <p:nvSpPr>
          <p:cNvPr id="23" name="Rechteck 22">
            <a:extLst>
              <a:ext uri="{FF2B5EF4-FFF2-40B4-BE49-F238E27FC236}">
                <a16:creationId xmlns:a16="http://schemas.microsoft.com/office/drawing/2014/main" id="{E507A110-01D2-2F08-595B-BD330C8E4617}"/>
              </a:ext>
            </a:extLst>
          </p:cNvPr>
          <p:cNvSpPr/>
          <p:nvPr/>
        </p:nvSpPr>
        <p:spPr>
          <a:xfrm>
            <a:off x="8066706" y="1722627"/>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Output: </a:t>
            </a:r>
            <a:br>
              <a:rPr lang="de-DE"/>
            </a:br>
            <a:r>
              <a:rPr lang="de-DE" err="1"/>
              <a:t>Identification</a:t>
            </a:r>
            <a:r>
              <a:rPr lang="de-DE"/>
              <a:t> </a:t>
            </a:r>
            <a:r>
              <a:rPr lang="de-DE" err="1"/>
              <a:t>of</a:t>
            </a:r>
            <a:r>
              <a:rPr lang="de-DE"/>
              <a:t> </a:t>
            </a:r>
            <a:r>
              <a:rPr lang="de-DE" err="1"/>
              <a:t>significant</a:t>
            </a:r>
            <a:r>
              <a:rPr lang="de-DE"/>
              <a:t> </a:t>
            </a:r>
            <a:r>
              <a:rPr lang="de-DE" err="1"/>
              <a:t>intervals</a:t>
            </a:r>
            <a:endParaRPr lang="de-DE"/>
          </a:p>
        </p:txBody>
      </p:sp>
      <p:sp>
        <p:nvSpPr>
          <p:cNvPr id="42" name="Textfeld 41">
            <a:extLst>
              <a:ext uri="{FF2B5EF4-FFF2-40B4-BE49-F238E27FC236}">
                <a16:creationId xmlns:a16="http://schemas.microsoft.com/office/drawing/2014/main" id="{D2D84957-4573-B215-65E1-42F8C562CADA}"/>
              </a:ext>
            </a:extLst>
          </p:cNvPr>
          <p:cNvSpPr txBox="1"/>
          <p:nvPr/>
        </p:nvSpPr>
        <p:spPr>
          <a:xfrm>
            <a:off x="8149850" y="2830018"/>
            <a:ext cx="3506678" cy="716414"/>
          </a:xfrm>
          <a:prstGeom prst="rect">
            <a:avLst/>
          </a:prstGeom>
          <a:solidFill>
            <a:schemeClr val="bg1"/>
          </a:solidFill>
        </p:spPr>
        <p:txBody>
          <a:bodyPr wrap="square" lIns="0" tIns="0" rIns="0" bIns="0" rtlCol="0">
            <a:noAutofit/>
          </a:bodyPr>
          <a:lstStyle/>
          <a:p>
            <a:pPr>
              <a:lnSpc>
                <a:spcPct val="110000"/>
              </a:lnSpc>
              <a:spcAft>
                <a:spcPts val="1000"/>
              </a:spcAft>
            </a:pPr>
            <a:r>
              <a:rPr lang="de-DE" sz="1400">
                <a:solidFill>
                  <a:schemeClr val="tx2">
                    <a:lumMod val="75000"/>
                  </a:schemeClr>
                </a:solidFill>
              </a:rPr>
              <a:t>Ergebnis sind </a:t>
            </a:r>
            <a:r>
              <a:rPr lang="de-DE" sz="1400" b="1">
                <a:solidFill>
                  <a:schemeClr val="tx2">
                    <a:lumMod val="75000"/>
                  </a:schemeClr>
                </a:solidFill>
              </a:rPr>
              <a:t>Muster</a:t>
            </a:r>
            <a:r>
              <a:rPr lang="de-DE" sz="1400">
                <a:solidFill>
                  <a:schemeClr val="tx2">
                    <a:lumMod val="75000"/>
                  </a:schemeClr>
                </a:solidFill>
              </a:rPr>
              <a:t>, die die für die Klassifikation </a:t>
            </a:r>
            <a:r>
              <a:rPr lang="de-DE" sz="1400" b="1">
                <a:solidFill>
                  <a:schemeClr val="tx2">
                    <a:lumMod val="75000"/>
                  </a:schemeClr>
                </a:solidFill>
              </a:rPr>
              <a:t>wichtigen Bereiche </a:t>
            </a:r>
            <a:r>
              <a:rPr lang="de-DE" sz="1400">
                <a:solidFill>
                  <a:schemeClr val="tx2">
                    <a:lumMod val="75000"/>
                  </a:schemeClr>
                </a:solidFill>
              </a:rPr>
              <a:t>in den Zeitreihen </a:t>
            </a:r>
            <a:r>
              <a:rPr lang="de-DE" sz="1400" b="1">
                <a:solidFill>
                  <a:schemeClr val="tx2">
                    <a:lumMod val="75000"/>
                  </a:schemeClr>
                </a:solidFill>
              </a:rPr>
              <a:t>festlegen</a:t>
            </a:r>
          </a:p>
        </p:txBody>
      </p:sp>
      <p:pic>
        <p:nvPicPr>
          <p:cNvPr id="46" name="Grafik 45" descr="Ein Bild, das Diagramm, Screenshot, Reihe enthält.&#10;&#10;Automatisch generierte Beschreibung">
            <a:extLst>
              <a:ext uri="{FF2B5EF4-FFF2-40B4-BE49-F238E27FC236}">
                <a16:creationId xmlns:a16="http://schemas.microsoft.com/office/drawing/2014/main" id="{91D1F6F4-7A06-612F-E0EF-004F2B4510CE}"/>
              </a:ext>
            </a:extLst>
          </p:cNvPr>
          <p:cNvPicPr>
            <a:picLocks noChangeAspect="1"/>
          </p:cNvPicPr>
          <p:nvPr/>
        </p:nvPicPr>
        <p:blipFill>
          <a:blip r:embed="rId10"/>
          <a:stretch>
            <a:fillRect/>
          </a:stretch>
        </p:blipFill>
        <p:spPr>
          <a:xfrm>
            <a:off x="1771394" y="1660662"/>
            <a:ext cx="9674507" cy="436332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015659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76215-A843-441F-D025-4DC6A9DC540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F8529FF-7602-63DB-9195-9021BE52A6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think-cell data - do not delete" hidden="1">
                        <a:extLst>
                          <a:ext uri="{FF2B5EF4-FFF2-40B4-BE49-F238E27FC236}">
                            <a16:creationId xmlns:a16="http://schemas.microsoft.com/office/drawing/2014/main" id="{BF8529FF-7602-63DB-9195-9021BE52A6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Textfeld 39">
            <a:extLst>
              <a:ext uri="{FF2B5EF4-FFF2-40B4-BE49-F238E27FC236}">
                <a16:creationId xmlns:a16="http://schemas.microsoft.com/office/drawing/2014/main" id="{A2CF4D7D-4AD6-9612-F4AD-B55448B99380}"/>
              </a:ext>
            </a:extLst>
          </p:cNvPr>
          <p:cNvSpPr txBox="1"/>
          <p:nvPr/>
        </p:nvSpPr>
        <p:spPr>
          <a:xfrm>
            <a:off x="559703" y="1169414"/>
            <a:ext cx="10752490" cy="501753"/>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Neuer Ansatz</a:t>
            </a:r>
            <a:r>
              <a:rPr lang="de-DE" sz="1400">
                <a:solidFill>
                  <a:schemeClr val="tx2">
                    <a:lumMod val="75000"/>
                  </a:schemeClr>
                </a:solidFill>
              </a:rPr>
              <a:t>: Pattern Extractor auf Zeitreihen anwenden, um Muster (</a:t>
            </a:r>
            <a:r>
              <a:rPr lang="de-DE" sz="1400" err="1">
                <a:solidFill>
                  <a:schemeClr val="tx2">
                    <a:lumMod val="75000"/>
                  </a:schemeClr>
                </a:solidFill>
              </a:rPr>
              <a:t>Shapelets</a:t>
            </a:r>
            <a:r>
              <a:rPr lang="de-DE" sz="1400">
                <a:solidFill>
                  <a:schemeClr val="tx2">
                    <a:lumMod val="75000"/>
                  </a:schemeClr>
                </a:solidFill>
              </a:rPr>
              <a:t>) zu identifizieren, </a:t>
            </a:r>
            <a:r>
              <a:rPr lang="de-DE" sz="1400">
                <a:solidFill>
                  <a:schemeClr val="tx2">
                    <a:lumMod val="75000"/>
                  </a:schemeClr>
                </a:solidFill>
                <a:sym typeface="Wingdings" panose="05000000000000000000" pitchFamily="2" charset="2"/>
              </a:rPr>
              <a:t>die für die </a:t>
            </a:r>
            <a:r>
              <a:rPr lang="de-DE" sz="1400" err="1">
                <a:solidFill>
                  <a:schemeClr val="tx2">
                    <a:lumMod val="75000"/>
                  </a:schemeClr>
                </a:solidFill>
                <a:sym typeface="Wingdings" panose="05000000000000000000" pitchFamily="2" charset="2"/>
              </a:rPr>
              <a:t>Klassfikation</a:t>
            </a:r>
            <a:r>
              <a:rPr lang="de-DE" sz="1400">
                <a:solidFill>
                  <a:schemeClr val="tx2">
                    <a:lumMod val="75000"/>
                  </a:schemeClr>
                </a:solidFill>
                <a:sym typeface="Wingdings" panose="05000000000000000000" pitchFamily="2" charset="2"/>
              </a:rPr>
              <a:t> von</a:t>
            </a:r>
            <a:br>
              <a:rPr lang="de-DE" sz="1400">
                <a:solidFill>
                  <a:schemeClr val="tx2">
                    <a:lumMod val="75000"/>
                  </a:schemeClr>
                </a:solidFill>
                <a:sym typeface="Wingdings" panose="05000000000000000000" pitchFamily="2" charset="2"/>
              </a:rPr>
            </a:br>
            <a:r>
              <a:rPr lang="de-DE" sz="1400">
                <a:solidFill>
                  <a:schemeClr val="tx2">
                    <a:lumMod val="75000"/>
                  </a:schemeClr>
                </a:solidFill>
                <a:sym typeface="Wingdings" panose="05000000000000000000" pitchFamily="2" charset="2"/>
              </a:rPr>
              <a:t> 	     </a:t>
            </a:r>
            <a:r>
              <a:rPr lang="de-DE" sz="1400" err="1">
                <a:solidFill>
                  <a:schemeClr val="bg1"/>
                </a:solidFill>
                <a:sym typeface="Wingdings" panose="05000000000000000000" pitchFamily="2" charset="2"/>
              </a:rPr>
              <a:t>ii</a:t>
            </a:r>
            <a:r>
              <a:rPr lang="de-DE" sz="1400" err="1">
                <a:solidFill>
                  <a:schemeClr val="tx2">
                    <a:lumMod val="75000"/>
                  </a:schemeClr>
                </a:solidFill>
                <a:sym typeface="Wingdings" panose="05000000000000000000" pitchFamily="2" charset="2"/>
              </a:rPr>
              <a:t>Zeitreihen</a:t>
            </a:r>
            <a:r>
              <a:rPr lang="de-DE" sz="1400">
                <a:solidFill>
                  <a:schemeClr val="tx2">
                    <a:lumMod val="75000"/>
                  </a:schemeClr>
                </a:solidFill>
                <a:sym typeface="Wingdings" panose="05000000000000000000" pitchFamily="2" charset="2"/>
              </a:rPr>
              <a:t> wichtig sind. </a:t>
            </a: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br>
              <a:rPr lang="de-DE" sz="1400">
                <a:solidFill>
                  <a:schemeClr val="tx2">
                    <a:lumMod val="75000"/>
                  </a:schemeClr>
                </a:solidFill>
                <a:sym typeface="Wingdings" panose="05000000000000000000" pitchFamily="2" charset="2"/>
              </a:rPr>
            </a:b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a:p>
            <a:pPr>
              <a:lnSpc>
                <a:spcPct val="110000"/>
              </a:lnSpc>
              <a:spcAft>
                <a:spcPts val="1000"/>
              </a:spcAft>
            </a:pPr>
            <a:endParaRPr lang="de-DE" sz="1400">
              <a:solidFill>
                <a:schemeClr val="tx2">
                  <a:lumMod val="75000"/>
                </a:schemeClr>
              </a:solidFill>
              <a:sym typeface="Wingdings" panose="05000000000000000000" pitchFamily="2" charset="2"/>
            </a:endParaRPr>
          </a:p>
        </p:txBody>
      </p:sp>
      <p:sp>
        <p:nvSpPr>
          <p:cNvPr id="41" name="Textfeld 40">
            <a:extLst>
              <a:ext uri="{FF2B5EF4-FFF2-40B4-BE49-F238E27FC236}">
                <a16:creationId xmlns:a16="http://schemas.microsoft.com/office/drawing/2014/main" id="{A285C5AC-EE0D-F6C1-951C-6079F48772C9}"/>
              </a:ext>
            </a:extLst>
          </p:cNvPr>
          <p:cNvSpPr txBox="1"/>
          <p:nvPr/>
        </p:nvSpPr>
        <p:spPr>
          <a:xfrm>
            <a:off x="4383157" y="2759823"/>
            <a:ext cx="3506678" cy="1290480"/>
          </a:xfrm>
          <a:prstGeom prst="rect">
            <a:avLst/>
          </a:prstGeom>
          <a:solidFill>
            <a:schemeClr val="bg1"/>
          </a:solidFill>
        </p:spPr>
        <p:txBody>
          <a:bodyPr wrap="square" lIns="0" tIns="0" rIns="0" bIns="0" rtlCol="0">
            <a:noAutofit/>
          </a:bodyPr>
          <a:lstStyle/>
          <a:p>
            <a:pPr>
              <a:lnSpc>
                <a:spcPct val="110000"/>
              </a:lnSpc>
              <a:spcAft>
                <a:spcPts val="1000"/>
              </a:spcAft>
            </a:pPr>
            <a:r>
              <a:rPr lang="de-DE" sz="1400">
                <a:solidFill>
                  <a:schemeClr val="tx2">
                    <a:lumMod val="75000"/>
                  </a:schemeClr>
                </a:solidFill>
              </a:rPr>
              <a:t>Algorithmen speziell für die </a:t>
            </a:r>
            <a:r>
              <a:rPr lang="de-DE" sz="1400" b="1">
                <a:solidFill>
                  <a:schemeClr val="tx2">
                    <a:lumMod val="75000"/>
                  </a:schemeClr>
                </a:solidFill>
              </a:rPr>
              <a:t>Analyse von Zeitreihen </a:t>
            </a:r>
          </a:p>
          <a:p>
            <a:pPr>
              <a:lnSpc>
                <a:spcPct val="110000"/>
              </a:lnSpc>
              <a:spcAft>
                <a:spcPts val="1000"/>
              </a:spcAft>
            </a:pPr>
            <a:r>
              <a:rPr lang="de-DE" sz="1400">
                <a:solidFill>
                  <a:schemeClr val="tx2">
                    <a:lumMod val="75000"/>
                  </a:schemeClr>
                </a:solidFill>
                <a:sym typeface="Wingdings" panose="05000000000000000000" pitchFamily="2" charset="2"/>
              </a:rPr>
              <a:t> Charakteristische </a:t>
            </a:r>
            <a:r>
              <a:rPr lang="de-DE" sz="1400" b="1">
                <a:solidFill>
                  <a:schemeClr val="tx2">
                    <a:lumMod val="75000"/>
                  </a:schemeClr>
                </a:solidFill>
                <a:sym typeface="Wingdings" panose="05000000000000000000" pitchFamily="2" charset="2"/>
              </a:rPr>
              <a:t>Muster</a:t>
            </a:r>
            <a:r>
              <a:rPr lang="de-DE" sz="1400">
                <a:solidFill>
                  <a:schemeClr val="tx2">
                    <a:lumMod val="75000"/>
                  </a:schemeClr>
                </a:solidFill>
                <a:sym typeface="Wingdings" panose="05000000000000000000" pitchFamily="2" charset="2"/>
              </a:rPr>
              <a:t> (</a:t>
            </a:r>
            <a:r>
              <a:rPr lang="de-DE" sz="1400" err="1">
                <a:solidFill>
                  <a:schemeClr val="tx2">
                    <a:lumMod val="75000"/>
                  </a:schemeClr>
                </a:solidFill>
                <a:sym typeface="Wingdings" panose="05000000000000000000" pitchFamily="2" charset="2"/>
              </a:rPr>
              <a:t>Shapelets</a:t>
            </a:r>
            <a:r>
              <a:rPr lang="de-DE" sz="1400">
                <a:solidFill>
                  <a:schemeClr val="tx2">
                    <a:lumMod val="75000"/>
                  </a:schemeClr>
                </a:solidFill>
                <a:sym typeface="Wingdings" panose="05000000000000000000" pitchFamily="2" charset="2"/>
              </a:rPr>
              <a:t>) ermitteln, die </a:t>
            </a:r>
            <a:r>
              <a:rPr lang="de-DE" sz="1400" b="1">
                <a:solidFill>
                  <a:schemeClr val="tx2">
                    <a:lumMod val="75000"/>
                  </a:schemeClr>
                </a:solidFill>
                <a:sym typeface="Wingdings" panose="05000000000000000000" pitchFamily="2" charset="2"/>
              </a:rPr>
              <a:t>für</a:t>
            </a:r>
            <a:r>
              <a:rPr lang="de-DE" sz="1400">
                <a:solidFill>
                  <a:schemeClr val="tx2">
                    <a:lumMod val="75000"/>
                  </a:schemeClr>
                </a:solidFill>
                <a:sym typeface="Wingdings" panose="05000000000000000000" pitchFamily="2" charset="2"/>
              </a:rPr>
              <a:t> die </a:t>
            </a:r>
            <a:r>
              <a:rPr lang="de-DE" sz="1400" b="1">
                <a:solidFill>
                  <a:schemeClr val="tx2">
                    <a:lumMod val="75000"/>
                  </a:schemeClr>
                </a:solidFill>
                <a:sym typeface="Wingdings" panose="05000000000000000000" pitchFamily="2" charset="2"/>
              </a:rPr>
              <a:t>Klassifikation</a:t>
            </a:r>
            <a:r>
              <a:rPr lang="de-DE" sz="1400">
                <a:solidFill>
                  <a:schemeClr val="tx2">
                    <a:lumMod val="75000"/>
                  </a:schemeClr>
                </a:solidFill>
                <a:sym typeface="Wingdings" panose="05000000000000000000" pitchFamily="2" charset="2"/>
              </a:rPr>
              <a:t> von Zeitreihen </a:t>
            </a:r>
            <a:r>
              <a:rPr lang="de-DE" sz="1400" b="1">
                <a:solidFill>
                  <a:schemeClr val="tx2">
                    <a:lumMod val="75000"/>
                  </a:schemeClr>
                </a:solidFill>
                <a:sym typeface="Wingdings" panose="05000000000000000000" pitchFamily="2" charset="2"/>
              </a:rPr>
              <a:t>wichtig</a:t>
            </a:r>
            <a:r>
              <a:rPr lang="de-DE" sz="1400">
                <a:solidFill>
                  <a:schemeClr val="tx2">
                    <a:lumMod val="75000"/>
                  </a:schemeClr>
                </a:solidFill>
                <a:sym typeface="Wingdings" panose="05000000000000000000" pitchFamily="2" charset="2"/>
              </a:rPr>
              <a:t> sind</a:t>
            </a:r>
            <a:endParaRPr lang="de-DE" sz="1400">
              <a:solidFill>
                <a:schemeClr val="tx2">
                  <a:lumMod val="75000"/>
                </a:schemeClr>
              </a:solidFill>
            </a:endParaRPr>
          </a:p>
        </p:txBody>
      </p:sp>
      <p:sp>
        <p:nvSpPr>
          <p:cNvPr id="2" name="Datumsplatzhalter 1">
            <a:extLst>
              <a:ext uri="{FF2B5EF4-FFF2-40B4-BE49-F238E27FC236}">
                <a16:creationId xmlns:a16="http://schemas.microsoft.com/office/drawing/2014/main" id="{1DA9226A-2637-C04E-B857-3B9C0144CAB6}"/>
              </a:ext>
            </a:extLst>
          </p:cNvPr>
          <p:cNvSpPr>
            <a:spLocks noGrp="1"/>
          </p:cNvSpPr>
          <p:nvPr>
            <p:ph type="dt" sz="half" idx="10"/>
          </p:nvPr>
        </p:nvSpPr>
        <p:spPr/>
        <p:txBody>
          <a:bodyPr/>
          <a:lstStyle/>
          <a:p>
            <a:fld id="{4680A733-F83D-4D19-AF27-7B0B870C8599}" type="datetime1">
              <a:rPr lang="de-DE" noProof="0" smtClean="0"/>
              <a:t>15.01.2025</a:t>
            </a:fld>
            <a:endParaRPr lang="de-DE" noProof="0"/>
          </a:p>
        </p:txBody>
      </p:sp>
      <p:sp>
        <p:nvSpPr>
          <p:cNvPr id="3" name="Fußzeilenplatzhalter 2">
            <a:extLst>
              <a:ext uri="{FF2B5EF4-FFF2-40B4-BE49-F238E27FC236}">
                <a16:creationId xmlns:a16="http://schemas.microsoft.com/office/drawing/2014/main" id="{B93BE7B3-CE4E-B6B1-B1F1-9758F21C342C}"/>
              </a:ext>
            </a:extLst>
          </p:cNvPr>
          <p:cNvSpPr>
            <a:spLocks noGrp="1"/>
          </p:cNvSpPr>
          <p:nvPr>
            <p:ph type="ftr" sz="quarter" idx="11"/>
          </p:nvPr>
        </p:nvSpPr>
        <p:spPr/>
        <p:txBody>
          <a:bodyPr/>
          <a:lstStyle/>
          <a:p>
            <a:r>
              <a:rPr lang="de-DE" noProof="0"/>
              <a:t>FZI Forschungszentrum Informatik</a:t>
            </a:r>
          </a:p>
        </p:txBody>
      </p:sp>
      <p:sp>
        <p:nvSpPr>
          <p:cNvPr id="4" name="Foliennummernplatzhalter 3">
            <a:extLst>
              <a:ext uri="{FF2B5EF4-FFF2-40B4-BE49-F238E27FC236}">
                <a16:creationId xmlns:a16="http://schemas.microsoft.com/office/drawing/2014/main" id="{BCE971D2-A795-FEFC-4D09-9776838D1248}"/>
              </a:ext>
            </a:extLst>
          </p:cNvPr>
          <p:cNvSpPr>
            <a:spLocks noGrp="1"/>
          </p:cNvSpPr>
          <p:nvPr>
            <p:ph type="sldNum" sz="quarter" idx="12"/>
          </p:nvPr>
        </p:nvSpPr>
        <p:spPr/>
        <p:txBody>
          <a:bodyPr/>
          <a:lstStyle/>
          <a:p>
            <a:fld id="{02CEFE82-39F2-4F47-8A0C-D5AB3496FA5C}" type="slidenum">
              <a:rPr lang="de-DE" noProof="0" smtClean="0"/>
              <a:pPr/>
              <a:t>9</a:t>
            </a:fld>
            <a:endParaRPr lang="de-DE" noProof="0"/>
          </a:p>
        </p:txBody>
      </p:sp>
      <p:sp>
        <p:nvSpPr>
          <p:cNvPr id="5" name="Titel 4">
            <a:extLst>
              <a:ext uri="{FF2B5EF4-FFF2-40B4-BE49-F238E27FC236}">
                <a16:creationId xmlns:a16="http://schemas.microsoft.com/office/drawing/2014/main" id="{DDDE761A-08DB-CD5B-21F4-58179699117F}"/>
              </a:ext>
            </a:extLst>
          </p:cNvPr>
          <p:cNvSpPr>
            <a:spLocks noGrp="1"/>
          </p:cNvSpPr>
          <p:nvPr>
            <p:ph type="title"/>
          </p:nvPr>
        </p:nvSpPr>
        <p:spPr/>
        <p:txBody>
          <a:bodyPr vert="horz"/>
          <a:lstStyle/>
          <a:p>
            <a:r>
              <a:rPr lang="de-DE"/>
              <a:t>Pattern </a:t>
            </a:r>
            <a:r>
              <a:rPr lang="de-DE" err="1"/>
              <a:t>Extraction</a:t>
            </a:r>
            <a:endParaRPr lang="de-DE"/>
          </a:p>
        </p:txBody>
      </p:sp>
      <p:sp>
        <p:nvSpPr>
          <p:cNvPr id="8" name="Textfeld 7">
            <a:extLst>
              <a:ext uri="{FF2B5EF4-FFF2-40B4-BE49-F238E27FC236}">
                <a16:creationId xmlns:a16="http://schemas.microsoft.com/office/drawing/2014/main" id="{2471CF2C-CD06-CE1D-236A-D3B4E21A68B3}"/>
              </a:ext>
            </a:extLst>
          </p:cNvPr>
          <p:cNvSpPr txBox="1"/>
          <p:nvPr/>
        </p:nvSpPr>
        <p:spPr>
          <a:xfrm>
            <a:off x="8315403" y="3630998"/>
            <a:ext cx="2995285" cy="603911"/>
          </a:xfrm>
          <a:prstGeom prst="rect">
            <a:avLst/>
          </a:prstGeom>
          <a:solidFill>
            <a:schemeClr val="bg1"/>
          </a:solidFill>
        </p:spPr>
        <p:txBody>
          <a:bodyPr wrap="square" lIns="0" tIns="0" rIns="0" bIns="0" rtlCol="0">
            <a:noAutofit/>
          </a:bodyPr>
          <a:lstStyle/>
          <a:p>
            <a:pPr algn="ctr">
              <a:lnSpc>
                <a:spcPct val="110000"/>
              </a:lnSpc>
              <a:spcAft>
                <a:spcPts val="1000"/>
              </a:spcAft>
            </a:pPr>
            <a:endParaRPr lang="de-DE" sz="1400">
              <a:solidFill>
                <a:schemeClr val="tx2">
                  <a:lumMod val="75000"/>
                </a:schemeClr>
              </a:solidFill>
            </a:endParaRPr>
          </a:p>
        </p:txBody>
      </p:sp>
      <p:pic>
        <p:nvPicPr>
          <p:cNvPr id="24" name="Grafik 23">
            <a:extLst>
              <a:ext uri="{FF2B5EF4-FFF2-40B4-BE49-F238E27FC236}">
                <a16:creationId xmlns:a16="http://schemas.microsoft.com/office/drawing/2014/main" id="{40516285-A8AB-E5BD-BC29-C6B35D8B9CF6}"/>
              </a:ext>
            </a:extLst>
          </p:cNvPr>
          <p:cNvPicPr>
            <a:picLocks noChangeAspect="1"/>
          </p:cNvPicPr>
          <p:nvPr/>
        </p:nvPicPr>
        <p:blipFill>
          <a:blip r:embed="rId5"/>
          <a:stretch>
            <a:fillRect/>
          </a:stretch>
        </p:blipFill>
        <p:spPr>
          <a:xfrm>
            <a:off x="2013958" y="3196609"/>
            <a:ext cx="1519092" cy="703283"/>
          </a:xfrm>
          <a:prstGeom prst="rect">
            <a:avLst/>
          </a:prstGeom>
          <a:ln>
            <a:solidFill>
              <a:schemeClr val="tx1"/>
            </a:solidFill>
          </a:ln>
          <a:effectLst>
            <a:outerShdw blurRad="50800" dist="38100" dir="2700000" algn="tl" rotWithShape="0">
              <a:prstClr val="black">
                <a:alpha val="40000"/>
              </a:prstClr>
            </a:outerShdw>
          </a:effectLst>
        </p:spPr>
      </p:pic>
      <p:pic>
        <p:nvPicPr>
          <p:cNvPr id="25" name="Grafik 24">
            <a:extLst>
              <a:ext uri="{FF2B5EF4-FFF2-40B4-BE49-F238E27FC236}">
                <a16:creationId xmlns:a16="http://schemas.microsoft.com/office/drawing/2014/main" id="{F9B3F747-4247-DACF-CEA6-122C996374FF}"/>
              </a:ext>
            </a:extLst>
          </p:cNvPr>
          <p:cNvPicPr>
            <a:picLocks noChangeAspect="1"/>
          </p:cNvPicPr>
          <p:nvPr/>
        </p:nvPicPr>
        <p:blipFill>
          <a:blip r:embed="rId6"/>
          <a:stretch>
            <a:fillRect/>
          </a:stretch>
        </p:blipFill>
        <p:spPr>
          <a:xfrm>
            <a:off x="1457836" y="3026298"/>
            <a:ext cx="1484556" cy="749887"/>
          </a:xfrm>
          <a:prstGeom prst="rect">
            <a:avLst/>
          </a:prstGeom>
          <a:ln>
            <a:solidFill>
              <a:schemeClr val="tx1"/>
            </a:solidFill>
          </a:ln>
          <a:effectLst>
            <a:outerShdw blurRad="50800" dist="38100" dir="2700000" algn="tl" rotWithShape="0">
              <a:prstClr val="black">
                <a:alpha val="40000"/>
              </a:prstClr>
            </a:outerShdw>
          </a:effectLst>
        </p:spPr>
      </p:pic>
      <p:pic>
        <p:nvPicPr>
          <p:cNvPr id="26" name="Grafik 25">
            <a:extLst>
              <a:ext uri="{FF2B5EF4-FFF2-40B4-BE49-F238E27FC236}">
                <a16:creationId xmlns:a16="http://schemas.microsoft.com/office/drawing/2014/main" id="{3FE6D526-D4D7-F7EE-4C3C-366D814D286D}"/>
              </a:ext>
            </a:extLst>
          </p:cNvPr>
          <p:cNvPicPr>
            <a:picLocks noChangeAspect="1"/>
          </p:cNvPicPr>
          <p:nvPr/>
        </p:nvPicPr>
        <p:blipFill>
          <a:blip r:embed="rId7"/>
          <a:stretch>
            <a:fillRect/>
          </a:stretch>
        </p:blipFill>
        <p:spPr>
          <a:xfrm>
            <a:off x="906967" y="2881111"/>
            <a:ext cx="1499773" cy="749887"/>
          </a:xfrm>
          <a:prstGeom prst="rect">
            <a:avLst/>
          </a:prstGeom>
          <a:ln>
            <a:solidFill>
              <a:schemeClr val="tx1"/>
            </a:solidFill>
          </a:ln>
          <a:effectLst>
            <a:outerShdw blurRad="50800" dist="38100" dir="2700000" algn="tl" rotWithShape="0">
              <a:prstClr val="black">
                <a:alpha val="40000"/>
              </a:prstClr>
            </a:outerShdw>
          </a:effectLst>
        </p:spPr>
      </p:pic>
      <p:sp>
        <p:nvSpPr>
          <p:cNvPr id="30" name="Textfeld 29">
            <a:extLst>
              <a:ext uri="{FF2B5EF4-FFF2-40B4-BE49-F238E27FC236}">
                <a16:creationId xmlns:a16="http://schemas.microsoft.com/office/drawing/2014/main" id="{D37C61FE-609B-642D-707B-4F0F6F65E7E0}"/>
              </a:ext>
            </a:extLst>
          </p:cNvPr>
          <p:cNvSpPr txBox="1"/>
          <p:nvPr/>
        </p:nvSpPr>
        <p:spPr>
          <a:xfrm>
            <a:off x="4383157" y="4320370"/>
            <a:ext cx="3659078" cy="476054"/>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Learning </a:t>
            </a:r>
            <a:r>
              <a:rPr lang="de-DE" sz="1400" b="1" err="1">
                <a:solidFill>
                  <a:schemeClr val="tx2">
                    <a:lumMod val="75000"/>
                  </a:schemeClr>
                </a:solidFill>
              </a:rPr>
              <a:t>Shapelets</a:t>
            </a:r>
            <a:endParaRPr lang="de-DE" sz="1400" b="1">
              <a:solidFill>
                <a:schemeClr val="tx2">
                  <a:lumMod val="75000"/>
                </a:schemeClr>
              </a:solidFill>
            </a:endParaRPr>
          </a:p>
          <a:p>
            <a:pPr>
              <a:lnSpc>
                <a:spcPct val="110000"/>
              </a:lnSpc>
              <a:spcAft>
                <a:spcPts val="1000"/>
              </a:spcAft>
            </a:pPr>
            <a:endParaRPr lang="de-DE" sz="1400">
              <a:solidFill>
                <a:schemeClr val="tx2">
                  <a:lumMod val="75000"/>
                </a:schemeClr>
              </a:solidFill>
            </a:endParaRPr>
          </a:p>
        </p:txBody>
      </p:sp>
      <p:sp>
        <p:nvSpPr>
          <p:cNvPr id="31" name="Textfeld 30">
            <a:extLst>
              <a:ext uri="{FF2B5EF4-FFF2-40B4-BE49-F238E27FC236}">
                <a16:creationId xmlns:a16="http://schemas.microsoft.com/office/drawing/2014/main" id="{0AFDA04C-122B-BB54-0ADE-2E071AEE311B}"/>
              </a:ext>
            </a:extLst>
          </p:cNvPr>
          <p:cNvSpPr txBox="1"/>
          <p:nvPr/>
        </p:nvSpPr>
        <p:spPr>
          <a:xfrm>
            <a:off x="638879" y="4319171"/>
            <a:ext cx="3506678" cy="476054"/>
          </a:xfrm>
          <a:prstGeom prst="rect">
            <a:avLst/>
          </a:prstGeom>
          <a:solidFill>
            <a:schemeClr val="bg1"/>
          </a:solidFill>
        </p:spPr>
        <p:txBody>
          <a:bodyPr wrap="square" lIns="0" tIns="0" rIns="0" bIns="0" rtlCol="0">
            <a:noAutofit/>
          </a:bodyPr>
          <a:lstStyle/>
          <a:p>
            <a:pPr>
              <a:lnSpc>
                <a:spcPct val="110000"/>
              </a:lnSpc>
              <a:spcAft>
                <a:spcPts val="1000"/>
              </a:spcAft>
            </a:pPr>
            <a:r>
              <a:rPr lang="de-DE" sz="1400" b="1">
                <a:solidFill>
                  <a:schemeClr val="tx2">
                    <a:lumMod val="75000"/>
                  </a:schemeClr>
                </a:solidFill>
              </a:rPr>
              <a:t>z.B. Coffee Dataset</a:t>
            </a:r>
            <a:endParaRPr lang="de-DE" sz="1400">
              <a:solidFill>
                <a:schemeClr val="tx2">
                  <a:lumMod val="75000"/>
                </a:schemeClr>
              </a:solidFill>
            </a:endParaRPr>
          </a:p>
        </p:txBody>
      </p:sp>
      <p:cxnSp>
        <p:nvCxnSpPr>
          <p:cNvPr id="33" name="Gerader Verbinder 32">
            <a:extLst>
              <a:ext uri="{FF2B5EF4-FFF2-40B4-BE49-F238E27FC236}">
                <a16:creationId xmlns:a16="http://schemas.microsoft.com/office/drawing/2014/main" id="{3D6D7F92-0081-AB57-D7D2-5207DF427091}"/>
              </a:ext>
            </a:extLst>
          </p:cNvPr>
          <p:cNvCxnSpPr>
            <a:cxnSpLocks/>
          </p:cNvCxnSpPr>
          <p:nvPr/>
        </p:nvCxnSpPr>
        <p:spPr>
          <a:xfrm>
            <a:off x="4306941" y="4259062"/>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F351FBC3-9CEE-EE9E-5A8F-577E1F931C15}"/>
              </a:ext>
            </a:extLst>
          </p:cNvPr>
          <p:cNvCxnSpPr>
            <a:cxnSpLocks/>
          </p:cNvCxnSpPr>
          <p:nvPr/>
        </p:nvCxnSpPr>
        <p:spPr>
          <a:xfrm flipV="1">
            <a:off x="552757" y="4259062"/>
            <a:ext cx="3570950" cy="12526"/>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A7C2D934-F4A9-F9F3-752B-858805CBB03B}"/>
              </a:ext>
            </a:extLst>
          </p:cNvPr>
          <p:cNvCxnSpPr>
            <a:cxnSpLocks/>
          </p:cNvCxnSpPr>
          <p:nvPr/>
        </p:nvCxnSpPr>
        <p:spPr>
          <a:xfrm>
            <a:off x="8042235" y="4256162"/>
            <a:ext cx="3582894"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8C01BB60-C674-2660-42BB-939DCDF01061}"/>
              </a:ext>
            </a:extLst>
          </p:cNvPr>
          <p:cNvSpPr/>
          <p:nvPr/>
        </p:nvSpPr>
        <p:spPr>
          <a:xfrm>
            <a:off x="1336827" y="5149884"/>
            <a:ext cx="6553008"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r>
              <a:rPr lang="de-DE" sz="1800">
                <a:solidFill>
                  <a:schemeClr val="tx2">
                    <a:lumMod val="75000"/>
                  </a:schemeClr>
                </a:solidFill>
                <a:sym typeface="Wingdings" panose="05000000000000000000" pitchFamily="2" charset="2"/>
              </a:rPr>
              <a:t>  Essentieller </a:t>
            </a:r>
            <a:r>
              <a:rPr lang="de-DE" sz="1800" b="1">
                <a:solidFill>
                  <a:schemeClr val="tx2">
                    <a:lumMod val="75000"/>
                  </a:schemeClr>
                </a:solidFill>
                <a:sym typeface="Wingdings" panose="05000000000000000000" pitchFamily="2" charset="2"/>
              </a:rPr>
              <a:t>Vorteil</a:t>
            </a:r>
            <a:r>
              <a:rPr lang="de-DE" sz="1800">
                <a:solidFill>
                  <a:schemeClr val="tx2">
                    <a:lumMod val="75000"/>
                  </a:schemeClr>
                </a:solidFill>
                <a:sym typeface="Wingdings" panose="05000000000000000000" pitchFamily="2" charset="2"/>
              </a:rPr>
              <a:t> ist die Erklärbarkeit unabhängig vom</a:t>
            </a:r>
            <a:br>
              <a:rPr lang="de-DE" sz="1800">
                <a:solidFill>
                  <a:schemeClr val="tx2">
                    <a:lumMod val="75000"/>
                  </a:schemeClr>
                </a:solidFill>
                <a:sym typeface="Wingdings" panose="05000000000000000000" pitchFamily="2" charset="2"/>
              </a:rPr>
            </a:br>
            <a:r>
              <a:rPr lang="de-DE" sz="1800">
                <a:solidFill>
                  <a:schemeClr val="tx2">
                    <a:lumMod val="75000"/>
                  </a:schemeClr>
                </a:solidFill>
                <a:sym typeface="Wingdings" panose="05000000000000000000" pitchFamily="2" charset="2"/>
              </a:rPr>
              <a:t>  verwendeten Modell</a:t>
            </a:r>
          </a:p>
        </p:txBody>
      </p:sp>
      <p:sp>
        <p:nvSpPr>
          <p:cNvPr id="37" name="Rechteck 36">
            <a:extLst>
              <a:ext uri="{FF2B5EF4-FFF2-40B4-BE49-F238E27FC236}">
                <a16:creationId xmlns:a16="http://schemas.microsoft.com/office/drawing/2014/main" id="{E7B1DEE5-9F66-1C54-7503-96443CCB2134}"/>
              </a:ext>
            </a:extLst>
          </p:cNvPr>
          <p:cNvSpPr/>
          <p:nvPr/>
        </p:nvSpPr>
        <p:spPr>
          <a:xfrm>
            <a:off x="552757" y="5149883"/>
            <a:ext cx="784069" cy="78581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110000"/>
              </a:lnSpc>
              <a:spcAft>
                <a:spcPts val="1000"/>
              </a:spcAft>
            </a:pPr>
            <a:endParaRPr lang="de-DE" sz="1800">
              <a:solidFill>
                <a:schemeClr val="tx1"/>
              </a:solidFill>
            </a:endParaRPr>
          </a:p>
        </p:txBody>
      </p:sp>
      <p:pic>
        <p:nvPicPr>
          <p:cNvPr id="38" name="Grafik 37" descr="Hinzufügen mit einfarbiger Füllung">
            <a:extLst>
              <a:ext uri="{FF2B5EF4-FFF2-40B4-BE49-F238E27FC236}">
                <a16:creationId xmlns:a16="http://schemas.microsoft.com/office/drawing/2014/main" id="{5B513652-02C6-7999-AF15-7545B360FC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055" y="5261954"/>
            <a:ext cx="551471" cy="551471"/>
          </a:xfrm>
          <a:prstGeom prst="rect">
            <a:avLst/>
          </a:prstGeom>
        </p:spPr>
      </p:pic>
      <p:sp>
        <p:nvSpPr>
          <p:cNvPr id="21" name="Rechteck 20">
            <a:extLst>
              <a:ext uri="{FF2B5EF4-FFF2-40B4-BE49-F238E27FC236}">
                <a16:creationId xmlns:a16="http://schemas.microsoft.com/office/drawing/2014/main" id="{9931E5CF-2E96-068E-B9B5-12C5ECA3178F}"/>
              </a:ext>
            </a:extLst>
          </p:cNvPr>
          <p:cNvSpPr/>
          <p:nvPr/>
        </p:nvSpPr>
        <p:spPr>
          <a:xfrm>
            <a:off x="542926" y="1722628"/>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Input: </a:t>
            </a:r>
            <a:br>
              <a:rPr lang="de-DE"/>
            </a:br>
            <a:r>
              <a:rPr lang="de-DE"/>
              <a:t>Time Series</a:t>
            </a:r>
          </a:p>
        </p:txBody>
      </p:sp>
      <p:sp>
        <p:nvSpPr>
          <p:cNvPr id="22" name="Rechteck 21">
            <a:extLst>
              <a:ext uri="{FF2B5EF4-FFF2-40B4-BE49-F238E27FC236}">
                <a16:creationId xmlns:a16="http://schemas.microsoft.com/office/drawing/2014/main" id="{DC26203A-2F30-5F21-7237-697798210758}"/>
              </a:ext>
            </a:extLst>
          </p:cNvPr>
          <p:cNvSpPr/>
          <p:nvPr/>
        </p:nvSpPr>
        <p:spPr>
          <a:xfrm>
            <a:off x="4304816" y="1722628"/>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a:solidFill>
                  <a:schemeClr val="bg1"/>
                </a:solidFill>
              </a:rPr>
              <a:t>Pattern </a:t>
            </a:r>
            <a:r>
              <a:rPr lang="de-DE" err="1">
                <a:solidFill>
                  <a:schemeClr val="bg1"/>
                </a:solidFill>
              </a:rPr>
              <a:t>Extractors</a:t>
            </a:r>
            <a:endParaRPr lang="de-DE">
              <a:solidFill>
                <a:schemeClr val="bg1"/>
              </a:solidFill>
            </a:endParaRPr>
          </a:p>
        </p:txBody>
      </p:sp>
      <p:sp>
        <p:nvSpPr>
          <p:cNvPr id="23" name="Rechteck 22">
            <a:extLst>
              <a:ext uri="{FF2B5EF4-FFF2-40B4-BE49-F238E27FC236}">
                <a16:creationId xmlns:a16="http://schemas.microsoft.com/office/drawing/2014/main" id="{D6F35F52-76FA-585E-D85D-1439057CE8AE}"/>
              </a:ext>
            </a:extLst>
          </p:cNvPr>
          <p:cNvSpPr/>
          <p:nvPr/>
        </p:nvSpPr>
        <p:spPr>
          <a:xfrm>
            <a:off x="8066706" y="1722627"/>
            <a:ext cx="3582894" cy="976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de-DE" b="1"/>
              <a:t>Output: </a:t>
            </a:r>
            <a:br>
              <a:rPr lang="de-DE"/>
            </a:br>
            <a:r>
              <a:rPr lang="de-DE" err="1"/>
              <a:t>Identification</a:t>
            </a:r>
            <a:r>
              <a:rPr lang="de-DE"/>
              <a:t> </a:t>
            </a:r>
            <a:r>
              <a:rPr lang="de-DE" err="1"/>
              <a:t>of</a:t>
            </a:r>
            <a:r>
              <a:rPr lang="de-DE"/>
              <a:t> </a:t>
            </a:r>
            <a:r>
              <a:rPr lang="de-DE" err="1"/>
              <a:t>significant</a:t>
            </a:r>
            <a:r>
              <a:rPr lang="de-DE"/>
              <a:t> </a:t>
            </a:r>
            <a:r>
              <a:rPr lang="de-DE" err="1"/>
              <a:t>intervals</a:t>
            </a:r>
            <a:endParaRPr lang="de-DE"/>
          </a:p>
        </p:txBody>
      </p:sp>
      <p:sp>
        <p:nvSpPr>
          <p:cNvPr id="42" name="Textfeld 41">
            <a:extLst>
              <a:ext uri="{FF2B5EF4-FFF2-40B4-BE49-F238E27FC236}">
                <a16:creationId xmlns:a16="http://schemas.microsoft.com/office/drawing/2014/main" id="{241F2257-E050-056C-EE9F-EA6594790EA3}"/>
              </a:ext>
            </a:extLst>
          </p:cNvPr>
          <p:cNvSpPr txBox="1"/>
          <p:nvPr/>
        </p:nvSpPr>
        <p:spPr>
          <a:xfrm>
            <a:off x="8149850" y="2830018"/>
            <a:ext cx="3506678" cy="716414"/>
          </a:xfrm>
          <a:prstGeom prst="rect">
            <a:avLst/>
          </a:prstGeom>
          <a:solidFill>
            <a:schemeClr val="bg1"/>
          </a:solidFill>
        </p:spPr>
        <p:txBody>
          <a:bodyPr wrap="square" lIns="0" tIns="0" rIns="0" bIns="0" rtlCol="0">
            <a:noAutofit/>
          </a:bodyPr>
          <a:lstStyle/>
          <a:p>
            <a:pPr>
              <a:lnSpc>
                <a:spcPct val="110000"/>
              </a:lnSpc>
              <a:spcAft>
                <a:spcPts val="1000"/>
              </a:spcAft>
            </a:pPr>
            <a:r>
              <a:rPr lang="de-DE" sz="1400">
                <a:solidFill>
                  <a:schemeClr val="tx2">
                    <a:lumMod val="75000"/>
                  </a:schemeClr>
                </a:solidFill>
              </a:rPr>
              <a:t>Ergebnis sind </a:t>
            </a:r>
            <a:r>
              <a:rPr lang="de-DE" sz="1400" b="1">
                <a:solidFill>
                  <a:schemeClr val="tx2">
                    <a:lumMod val="75000"/>
                  </a:schemeClr>
                </a:solidFill>
              </a:rPr>
              <a:t>Muster</a:t>
            </a:r>
            <a:r>
              <a:rPr lang="de-DE" sz="1400">
                <a:solidFill>
                  <a:schemeClr val="tx2">
                    <a:lumMod val="75000"/>
                  </a:schemeClr>
                </a:solidFill>
              </a:rPr>
              <a:t>, die die für die Klassifikation </a:t>
            </a:r>
            <a:r>
              <a:rPr lang="de-DE" sz="1400" b="1">
                <a:solidFill>
                  <a:schemeClr val="tx2">
                    <a:lumMod val="75000"/>
                  </a:schemeClr>
                </a:solidFill>
              </a:rPr>
              <a:t>wichtigen Bereiche </a:t>
            </a:r>
            <a:r>
              <a:rPr lang="de-DE" sz="1400">
                <a:solidFill>
                  <a:schemeClr val="tx2">
                    <a:lumMod val="75000"/>
                  </a:schemeClr>
                </a:solidFill>
              </a:rPr>
              <a:t>in den Zeitreihen </a:t>
            </a:r>
            <a:r>
              <a:rPr lang="de-DE" sz="1400" b="1">
                <a:solidFill>
                  <a:schemeClr val="tx2">
                    <a:lumMod val="75000"/>
                  </a:schemeClr>
                </a:solidFill>
              </a:rPr>
              <a:t>festlegen</a:t>
            </a:r>
          </a:p>
        </p:txBody>
      </p:sp>
      <p:pic>
        <p:nvPicPr>
          <p:cNvPr id="46" name="Grafik 45" descr="Ein Bild, das Diagramm, Screenshot, Reihe enthält.&#10;&#10;Automatisch generierte Beschreibung">
            <a:extLst>
              <a:ext uri="{FF2B5EF4-FFF2-40B4-BE49-F238E27FC236}">
                <a16:creationId xmlns:a16="http://schemas.microsoft.com/office/drawing/2014/main" id="{CB1E7EA2-09A2-9F4B-D6C1-16C8191BA9A9}"/>
              </a:ext>
            </a:extLst>
          </p:cNvPr>
          <p:cNvPicPr>
            <a:picLocks noChangeAspect="1"/>
          </p:cNvPicPr>
          <p:nvPr/>
        </p:nvPicPr>
        <p:blipFill>
          <a:blip r:embed="rId10"/>
          <a:stretch>
            <a:fillRect/>
          </a:stretch>
        </p:blipFill>
        <p:spPr>
          <a:xfrm>
            <a:off x="8066705" y="4499924"/>
            <a:ext cx="3379197" cy="15240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686875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ZI Masterpräsentation">
  <a:themeElements>
    <a:clrScheme name="FZI-Farben">
      <a:dk1>
        <a:srgbClr val="1A1A1A"/>
      </a:dk1>
      <a:lt1>
        <a:srgbClr val="FFFFFF"/>
      </a:lt1>
      <a:dk2>
        <a:srgbClr val="333333"/>
      </a:dk2>
      <a:lt2>
        <a:srgbClr val="FFFFFF"/>
      </a:lt2>
      <a:accent1>
        <a:srgbClr val="007749"/>
      </a:accent1>
      <a:accent2>
        <a:srgbClr val="2FAE7A"/>
      </a:accent2>
      <a:accent3>
        <a:srgbClr val="807F84"/>
      </a:accent3>
      <a:accent4>
        <a:srgbClr val="B3B3B3"/>
      </a:accent4>
      <a:accent5>
        <a:srgbClr val="003554"/>
      </a:accent5>
      <a:accent6>
        <a:srgbClr val="293D8A"/>
      </a:accent6>
      <a:hlink>
        <a:srgbClr val="003554"/>
      </a:hlink>
      <a:folHlink>
        <a:srgbClr val="003554"/>
      </a:folHlink>
    </a:clrScheme>
    <a:fontScheme name="FZ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gn="l">
          <a:lnSpc>
            <a:spcPct val="110000"/>
          </a:lnSpc>
          <a:spcAft>
            <a:spcPts val="1000"/>
          </a:spcAft>
          <a:defRPr dirty="0" smtClean="0">
            <a:solidFill>
              <a:schemeClr val="tx2">
                <a:lumMod val="75000"/>
              </a:schemeClr>
            </a:solidFill>
          </a:defRPr>
        </a:defPPr>
      </a:lstStyle>
    </a:txDef>
  </a:objectDefaults>
  <a:extraClrSchemeLst/>
  <a:extLst>
    <a:ext uri="{05A4C25C-085E-4340-85A3-A5531E510DB2}">
      <thm15:themeFamily xmlns:thm15="http://schemas.microsoft.com/office/thememl/2012/main" name="2019V2_master-vorlage_fzi-foliensatz" id="{38959FBE-23DE-441B-B46B-3E5A6F1EBE0E}" vid="{AAE26987-CC3F-4164-B0C8-92ECA5F72754}"/>
    </a:ext>
  </a:extLst>
</a:theme>
</file>

<file path=ppt/theme/theme2.xml><?xml version="1.0" encoding="utf-8"?>
<a:theme xmlns:a="http://schemas.openxmlformats.org/drawingml/2006/main" name="Larissa">
  <a:themeElements>
    <a:clrScheme name="FZI">
      <a:dk1>
        <a:sysClr val="windowText" lastClr="000000"/>
      </a:dk1>
      <a:lt1>
        <a:sysClr val="window" lastClr="FFFFFF"/>
      </a:lt1>
      <a:dk2>
        <a:srgbClr val="58585A"/>
      </a:dk2>
      <a:lt2>
        <a:srgbClr val="FFFFFF"/>
      </a:lt2>
      <a:accent1>
        <a:srgbClr val="007749"/>
      </a:accent1>
      <a:accent2>
        <a:srgbClr val="818085"/>
      </a:accent2>
      <a:accent3>
        <a:srgbClr val="0064A3"/>
      </a:accent3>
      <a:accent4>
        <a:srgbClr val="C10033"/>
      </a:accent4>
      <a:accent5>
        <a:srgbClr val="FABB08"/>
      </a:accent5>
      <a:accent6>
        <a:srgbClr val="88C3E6"/>
      </a:accent6>
      <a:hlink>
        <a:srgbClr val="818085"/>
      </a:hlink>
      <a:folHlink>
        <a:srgbClr val="818085"/>
      </a:folHlink>
    </a:clrScheme>
    <a:fontScheme name="FZI">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FZI">
      <a:dk1>
        <a:sysClr val="windowText" lastClr="000000"/>
      </a:dk1>
      <a:lt1>
        <a:sysClr val="window" lastClr="FFFFFF"/>
      </a:lt1>
      <a:dk2>
        <a:srgbClr val="58585A"/>
      </a:dk2>
      <a:lt2>
        <a:srgbClr val="FFFFFF"/>
      </a:lt2>
      <a:accent1>
        <a:srgbClr val="007749"/>
      </a:accent1>
      <a:accent2>
        <a:srgbClr val="818085"/>
      </a:accent2>
      <a:accent3>
        <a:srgbClr val="0064A3"/>
      </a:accent3>
      <a:accent4>
        <a:srgbClr val="C10033"/>
      </a:accent4>
      <a:accent5>
        <a:srgbClr val="FABB08"/>
      </a:accent5>
      <a:accent6>
        <a:srgbClr val="88C3E6"/>
      </a:accent6>
      <a:hlink>
        <a:srgbClr val="818085"/>
      </a:hlink>
      <a:folHlink>
        <a:srgbClr val="818085"/>
      </a:folHlink>
    </a:clrScheme>
    <a:fontScheme name="FZ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Custom</PresentationFormat>
  <Slides>28</Slides>
  <Notes>6</Notes>
  <HiddenSlides>3</HiddenSlides>
  <ScaleCrop>false</ScaleCrop>
  <HeadingPairs>
    <vt:vector size="4" baseType="variant">
      <vt:variant>
        <vt:lpstr>Theme</vt:lpstr>
      </vt:variant>
      <vt:variant>
        <vt:i4>1</vt:i4>
      </vt:variant>
      <vt:variant>
        <vt:lpstr>Slide Titles</vt:lpstr>
      </vt:variant>
      <vt:variant>
        <vt:i4>28</vt:i4>
      </vt:variant>
    </vt:vector>
  </HeadingPairs>
  <TitlesOfParts>
    <vt:vector size="29" baseType="lpstr">
      <vt:lpstr>FZI Masterpräsentation</vt:lpstr>
      <vt:lpstr>Seminar: Explainable Machine Learning for Time Series</vt:lpstr>
      <vt:lpstr>Zwischenpräsentation - Agenda</vt:lpstr>
      <vt:lpstr>Thema und Aufgabenstellen</vt:lpstr>
      <vt:lpstr>Konzept</vt:lpstr>
      <vt:lpstr>Klassifikation und Analyse von Zeitreihen</vt:lpstr>
      <vt:lpstr>PowerPoint Presentation</vt:lpstr>
      <vt:lpstr>Pattern Extraction</vt:lpstr>
      <vt:lpstr>Pattern Extraction</vt:lpstr>
      <vt:lpstr>Pattern Extraction</vt:lpstr>
      <vt:lpstr>PowerPoint Presentation</vt:lpstr>
      <vt:lpstr>Validierung extrahierter Patterns</vt:lpstr>
      <vt:lpstr>Modifikation der Zeitreihen</vt:lpstr>
      <vt:lpstr>Konzept</vt:lpstr>
      <vt:lpstr>Aktueller Fortschritt</vt:lpstr>
      <vt:lpstr>Aktueller Fortschritt</vt:lpstr>
      <vt:lpstr>Aktueller Fortschritt</vt:lpstr>
      <vt:lpstr>Nächste Schritte</vt:lpstr>
      <vt:lpstr>Vielen Dank für eure Aufmerksamkeit</vt:lpstr>
      <vt:lpstr>Back-Up Folien</vt:lpstr>
      <vt:lpstr>Modifikation der Zeitreihen</vt:lpstr>
      <vt:lpstr>Konzepte im Überblick</vt:lpstr>
      <vt:lpstr>Zwischenpräsentation</vt:lpstr>
      <vt:lpstr>Zwischenpräsentation</vt:lpstr>
      <vt:lpstr>Aktueller Fortschritt</vt:lpstr>
      <vt:lpstr>Komplikationen</vt:lpstr>
      <vt:lpstr>PowerPoint Presentation</vt:lpstr>
      <vt:lpstr>PowerPoint Presentation</vt:lpstr>
      <vt:lpstr>PowerPoint Presentation</vt:lpstr>
    </vt:vector>
  </TitlesOfParts>
  <Company>FZ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irte Havighorst;Johanna Häs</dc:creator>
  <dc:description/>
  <cp:revision>4</cp:revision>
  <dcterms:created xsi:type="dcterms:W3CDTF">2019-07-22T08:52:30Z</dcterms:created>
  <dcterms:modified xsi:type="dcterms:W3CDTF">2025-01-15T12:34:39Z</dcterms:modified>
</cp:coreProperties>
</file>